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1" r:id="rId2"/>
    <p:sldMasterId id="2147483723" r:id="rId3"/>
    <p:sldMasterId id="2147483738" r:id="rId4"/>
  </p:sldMasterIdLst>
  <p:notesMasterIdLst>
    <p:notesMasterId r:id="rId34"/>
  </p:notesMasterIdLst>
  <p:sldIdLst>
    <p:sldId id="257" r:id="rId5"/>
    <p:sldId id="2147470184" r:id="rId6"/>
    <p:sldId id="2146847043" r:id="rId7"/>
    <p:sldId id="300" r:id="rId8"/>
    <p:sldId id="2147470223" r:id="rId9"/>
    <p:sldId id="2147470222" r:id="rId10"/>
    <p:sldId id="2147470259" r:id="rId11"/>
    <p:sldId id="2147470256" r:id="rId12"/>
    <p:sldId id="2147470269" r:id="rId13"/>
    <p:sldId id="2147470263" r:id="rId14"/>
    <p:sldId id="2147470270" r:id="rId15"/>
    <p:sldId id="2147470264" r:id="rId16"/>
    <p:sldId id="2147470271" r:id="rId17"/>
    <p:sldId id="2147470265" r:id="rId18"/>
    <p:sldId id="2147470272" r:id="rId19"/>
    <p:sldId id="2147470266" r:id="rId20"/>
    <p:sldId id="2147470273" r:id="rId21"/>
    <p:sldId id="2147470257" r:id="rId22"/>
    <p:sldId id="2147470245" r:id="rId23"/>
    <p:sldId id="2147470235" r:id="rId24"/>
    <p:sldId id="2147470268" r:id="rId25"/>
    <p:sldId id="2147470228" r:id="rId26"/>
    <p:sldId id="2147470227" r:id="rId27"/>
    <p:sldId id="2147470226" r:id="rId28"/>
    <p:sldId id="2147470225" r:id="rId29"/>
    <p:sldId id="2147470224" r:id="rId30"/>
    <p:sldId id="2147470239" r:id="rId31"/>
    <p:sldId id="2147470244" r:id="rId32"/>
    <p:sldId id="2147374605" r:id="rId33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34A5B777-9B84-4988-B3DD-3B608274DF87}">
          <p14:sldIdLst>
            <p14:sldId id="257"/>
            <p14:sldId id="2147470184"/>
            <p14:sldId id="2146847043"/>
            <p14:sldId id="300"/>
            <p14:sldId id="2147470223"/>
            <p14:sldId id="2147470222"/>
            <p14:sldId id="2147470259"/>
            <p14:sldId id="2147470256"/>
            <p14:sldId id="2147470269"/>
            <p14:sldId id="2147470263"/>
            <p14:sldId id="2147470270"/>
            <p14:sldId id="2147470264"/>
            <p14:sldId id="2147470271"/>
            <p14:sldId id="2147470265"/>
            <p14:sldId id="2147470272"/>
            <p14:sldId id="2147470266"/>
            <p14:sldId id="2147470273"/>
            <p14:sldId id="2147470257"/>
            <p14:sldId id="2147470245"/>
            <p14:sldId id="2147470235"/>
            <p14:sldId id="2147470268"/>
            <p14:sldId id="2147470228"/>
            <p14:sldId id="2147470227"/>
            <p14:sldId id="2147470226"/>
            <p14:sldId id="2147470225"/>
            <p14:sldId id="2147470224"/>
            <p14:sldId id="2147470239"/>
          </p14:sldIdLst>
        </p14:section>
        <p14:section name="Teste Multicluster" id="{5C627118-ABA7-4617-AC3B-978F7BDC5C1B}">
          <p14:sldIdLst>
            <p14:sldId id="2147470244"/>
            <p14:sldId id="214737460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06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88B9DB1-5659-4DE1-805E-57B0F19426CD}" v="79" dt="2025-07-04T13:02:39.9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72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65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6/11/relationships/changesInfo" Target="changesInfos/changesInfo1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re Zanetti de Almeida" userId="129d4ce6-e715-4d33-b4c4-312f1656225b" providerId="ADAL" clId="{1ED0CCF9-60EA-4760-B378-AE85636A6826}"/>
    <pc:docChg chg="undo custSel addSld modSld sldOrd modSection">
      <pc:chgData name="Alexandre Zanetti de Almeida" userId="129d4ce6-e715-4d33-b4c4-312f1656225b" providerId="ADAL" clId="{1ED0CCF9-60EA-4760-B378-AE85636A6826}" dt="2025-06-05T13:04:45.181" v="288" actId="478"/>
      <pc:docMkLst>
        <pc:docMk/>
      </pc:docMkLst>
      <pc:sldChg chg="modSp mod">
        <pc:chgData name="Alexandre Zanetti de Almeida" userId="129d4ce6-e715-4d33-b4c4-312f1656225b" providerId="ADAL" clId="{1ED0CCF9-60EA-4760-B378-AE85636A6826}" dt="2025-05-26T12:43:37.905" v="8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1ED0CCF9-60EA-4760-B378-AE85636A6826}" dt="2025-05-26T12:43:37.905" v="8" actId="20577"/>
          <ac:spMkLst>
            <pc:docMk/>
            <pc:sldMk cId="3565198220" sldId="257"/>
            <ac:spMk id="14" creationId="{58A75E89-8A5E-9C4E-8913-431969C8D27C}"/>
          </ac:spMkLst>
        </pc:spChg>
      </pc:sldChg>
      <pc:sldChg chg="modSp add mod ord modShow">
        <pc:chgData name="Alexandre Zanetti de Almeida" userId="129d4ce6-e715-4d33-b4c4-312f1656225b" providerId="ADAL" clId="{1ED0CCF9-60EA-4760-B378-AE85636A6826}" dt="2025-05-26T12:57:16.559" v="241" actId="729"/>
        <pc:sldMkLst>
          <pc:docMk/>
          <pc:sldMk cId="2817282654" sldId="2147470250"/>
        </pc:sldMkLst>
      </pc:sldChg>
      <pc:sldChg chg="add mod modShow">
        <pc:chgData name="Alexandre Zanetti de Almeida" userId="129d4ce6-e715-4d33-b4c4-312f1656225b" providerId="ADAL" clId="{1ED0CCF9-60EA-4760-B378-AE85636A6826}" dt="2025-05-26T12:56:14.891" v="163" actId="729"/>
        <pc:sldMkLst>
          <pc:docMk/>
          <pc:sldMk cId="57506138" sldId="2147470251"/>
        </pc:sldMkLst>
      </pc:sldChg>
      <pc:sldChg chg="add mod modShow">
        <pc:chgData name="Alexandre Zanetti de Almeida" userId="129d4ce6-e715-4d33-b4c4-312f1656225b" providerId="ADAL" clId="{1ED0CCF9-60EA-4760-B378-AE85636A6826}" dt="2025-05-26T12:56:14.891" v="163" actId="729"/>
        <pc:sldMkLst>
          <pc:docMk/>
          <pc:sldMk cId="481838124" sldId="2147470252"/>
        </pc:sldMkLst>
      </pc:sldChg>
      <pc:sldChg chg="addSp delSp modSp add mod modShow">
        <pc:chgData name="Alexandre Zanetti de Almeida" userId="129d4ce6-e715-4d33-b4c4-312f1656225b" providerId="ADAL" clId="{1ED0CCF9-60EA-4760-B378-AE85636A6826}" dt="2025-05-26T12:56:14.891" v="163" actId="729"/>
        <pc:sldMkLst>
          <pc:docMk/>
          <pc:sldMk cId="1173113283" sldId="2147470253"/>
        </pc:sldMkLst>
      </pc:sldChg>
      <pc:sldChg chg="addSp delSp modSp add mod modShow">
        <pc:chgData name="Alexandre Zanetti de Almeida" userId="129d4ce6-e715-4d33-b4c4-312f1656225b" providerId="ADAL" clId="{1ED0CCF9-60EA-4760-B378-AE85636A6826}" dt="2025-05-26T12:56:14.891" v="163" actId="729"/>
        <pc:sldMkLst>
          <pc:docMk/>
          <pc:sldMk cId="20244889" sldId="2147470254"/>
        </pc:sldMkLst>
      </pc:sldChg>
      <pc:sldChg chg="addSp delSp modSp add mod modShow">
        <pc:chgData name="Alexandre Zanetti de Almeida" userId="129d4ce6-e715-4d33-b4c4-312f1656225b" providerId="ADAL" clId="{1ED0CCF9-60EA-4760-B378-AE85636A6826}" dt="2025-05-26T12:56:14.891" v="163" actId="729"/>
        <pc:sldMkLst>
          <pc:docMk/>
          <pc:sldMk cId="420519257" sldId="2147470255"/>
        </pc:sldMkLst>
      </pc:sldChg>
      <pc:sldChg chg="addSp modSp add mod">
        <pc:chgData name="Alexandre Zanetti de Almeida" userId="129d4ce6-e715-4d33-b4c4-312f1656225b" providerId="ADAL" clId="{1ED0CCF9-60EA-4760-B378-AE85636A6826}" dt="2025-06-05T12:23:25.795" v="258" actId="13926"/>
        <pc:sldMkLst>
          <pc:docMk/>
          <pc:sldMk cId="3197812713" sldId="2147470256"/>
        </pc:sldMkLst>
      </pc:sldChg>
      <pc:sldChg chg="addSp delSp modSp new mod">
        <pc:chgData name="Alexandre Zanetti de Almeida" userId="129d4ce6-e715-4d33-b4c4-312f1656225b" providerId="ADAL" clId="{1ED0CCF9-60EA-4760-B378-AE85636A6826}" dt="2025-06-05T13:04:45.181" v="288" actId="478"/>
        <pc:sldMkLst>
          <pc:docMk/>
          <pc:sldMk cId="133380727" sldId="2147470257"/>
        </pc:sldMkLst>
        <pc:spChg chg="add mod">
          <ac:chgData name="Alexandre Zanetti de Almeida" userId="129d4ce6-e715-4d33-b4c4-312f1656225b" providerId="ADAL" clId="{1ED0CCF9-60EA-4760-B378-AE85636A6826}" dt="2025-06-05T12:48:29.020" v="261"/>
          <ac:spMkLst>
            <pc:docMk/>
            <pc:sldMk cId="133380727" sldId="2147470257"/>
            <ac:spMk id="4" creationId="{78E997BD-2EFD-1D31-F558-8F81B797E945}"/>
          </ac:spMkLst>
        </pc:spChg>
        <pc:spChg chg="add mod">
          <ac:chgData name="Alexandre Zanetti de Almeida" userId="129d4ce6-e715-4d33-b4c4-312f1656225b" providerId="ADAL" clId="{1ED0CCF9-60EA-4760-B378-AE85636A6826}" dt="2025-06-05T12:48:29.020" v="261"/>
          <ac:spMkLst>
            <pc:docMk/>
            <pc:sldMk cId="133380727" sldId="2147470257"/>
            <ac:spMk id="5" creationId="{2B8318AD-913B-8377-C38A-BF896D25B829}"/>
          </ac:spMkLst>
        </pc:spChg>
        <pc:spChg chg="add mod">
          <ac:chgData name="Alexandre Zanetti de Almeida" userId="129d4ce6-e715-4d33-b4c4-312f1656225b" providerId="ADAL" clId="{1ED0CCF9-60EA-4760-B378-AE85636A6826}" dt="2025-06-05T12:48:29.020" v="261"/>
          <ac:spMkLst>
            <pc:docMk/>
            <pc:sldMk cId="133380727" sldId="2147470257"/>
            <ac:spMk id="6" creationId="{3C56D8F0-1127-89AB-1055-22BA99A31461}"/>
          </ac:spMkLst>
        </pc:spChg>
        <pc:spChg chg="add mod">
          <ac:chgData name="Alexandre Zanetti de Almeida" userId="129d4ce6-e715-4d33-b4c4-312f1656225b" providerId="ADAL" clId="{1ED0CCF9-60EA-4760-B378-AE85636A6826}" dt="2025-06-05T12:48:29.020" v="261"/>
          <ac:spMkLst>
            <pc:docMk/>
            <pc:sldMk cId="133380727" sldId="2147470257"/>
            <ac:spMk id="7" creationId="{AD02950B-6E30-44E6-B02B-2432BDAFC413}"/>
          </ac:spMkLst>
        </pc:spChg>
        <pc:spChg chg="add mod">
          <ac:chgData name="Alexandre Zanetti de Almeida" userId="129d4ce6-e715-4d33-b4c4-312f1656225b" providerId="ADAL" clId="{1ED0CCF9-60EA-4760-B378-AE85636A6826}" dt="2025-06-05T12:48:29.020" v="261"/>
          <ac:spMkLst>
            <pc:docMk/>
            <pc:sldMk cId="133380727" sldId="2147470257"/>
            <ac:spMk id="8" creationId="{9F980ABE-0ADF-E025-0756-0DC7A8DCAB86}"/>
          </ac:spMkLst>
        </pc:spChg>
        <pc:spChg chg="add mod">
          <ac:chgData name="Alexandre Zanetti de Almeida" userId="129d4ce6-e715-4d33-b4c4-312f1656225b" providerId="ADAL" clId="{1ED0CCF9-60EA-4760-B378-AE85636A6826}" dt="2025-06-05T12:49:05.899" v="271" actId="6549"/>
          <ac:spMkLst>
            <pc:docMk/>
            <pc:sldMk cId="133380727" sldId="2147470257"/>
            <ac:spMk id="9" creationId="{8B035EAD-5601-68BD-812A-127723ACE88B}"/>
          </ac:spMkLst>
        </pc:spChg>
        <pc:graphicFrameChg chg="add mod modGraphic">
          <ac:chgData name="Alexandre Zanetti de Almeida" userId="129d4ce6-e715-4d33-b4c4-312f1656225b" providerId="ADAL" clId="{1ED0CCF9-60EA-4760-B378-AE85636A6826}" dt="2025-06-05T13:04:43.839" v="287" actId="1076"/>
          <ac:graphicFrameMkLst>
            <pc:docMk/>
            <pc:sldMk cId="133380727" sldId="2147470257"/>
            <ac:graphicFrameMk id="11" creationId="{AAA917BB-54B8-4AA3-48D4-24D4E553B783}"/>
          </ac:graphicFrameMkLst>
        </pc:graphicFrameChg>
      </pc:sldChg>
    </pc:docChg>
  </pc:docChgLst>
  <pc:docChgLst>
    <pc:chgData name="Alexandre Zanetti de Almeida" userId="129d4ce6-e715-4d33-b4c4-312f1656225b" providerId="ADAL" clId="{B43CCD4C-FFAF-4F95-BA74-53735DFD9913}"/>
    <pc:docChg chg="undo custSel addSld delSld modSld modSection">
      <pc:chgData name="Alexandre Zanetti de Almeida" userId="129d4ce6-e715-4d33-b4c4-312f1656225b" providerId="ADAL" clId="{B43CCD4C-FFAF-4F95-BA74-53735DFD9913}" dt="2025-04-28T16:29:39.625" v="263" actId="6549"/>
      <pc:docMkLst>
        <pc:docMk/>
      </pc:docMkLst>
      <pc:sldChg chg="addSp delSp modSp mod">
        <pc:chgData name="Alexandre Zanetti de Almeida" userId="129d4ce6-e715-4d33-b4c4-312f1656225b" providerId="ADAL" clId="{B43CCD4C-FFAF-4F95-BA74-53735DFD9913}" dt="2025-04-28T16:29:39.625" v="263" actId="6549"/>
        <pc:sldMkLst>
          <pc:docMk/>
          <pc:sldMk cId="3565198220" sldId="257"/>
        </pc:sldMkLst>
        <pc:spChg chg="add mod">
          <ac:chgData name="Alexandre Zanetti de Almeida" userId="129d4ce6-e715-4d33-b4c4-312f1656225b" providerId="ADAL" clId="{B43CCD4C-FFAF-4F95-BA74-53735DFD9913}" dt="2025-04-28T16:29:39.625" v="263" actId="6549"/>
          <ac:spMkLst>
            <pc:docMk/>
            <pc:sldMk cId="3565198220" sldId="257"/>
            <ac:spMk id="14" creationId="{58A75E89-8A5E-9C4E-8913-431969C8D27C}"/>
          </ac:spMkLst>
        </pc:spChg>
        <pc:spChg chg="add del mod">
          <ac:chgData name="Alexandre Zanetti de Almeida" userId="129d4ce6-e715-4d33-b4c4-312f1656225b" providerId="ADAL" clId="{B43CCD4C-FFAF-4F95-BA74-53735DFD9913}" dt="2025-04-17T12:31:45.190" v="223" actId="478"/>
          <ac:spMkLst>
            <pc:docMk/>
            <pc:sldMk cId="3565198220" sldId="257"/>
            <ac:spMk id="15" creationId="{8C5E088B-F239-B4BC-57B6-18BF22947AE6}"/>
          </ac:spMkLst>
        </pc:spChg>
        <pc:spChg chg="add mod">
          <ac:chgData name="Alexandre Zanetti de Almeida" userId="129d4ce6-e715-4d33-b4c4-312f1656225b" providerId="ADAL" clId="{B43CCD4C-FFAF-4F95-BA74-53735DFD9913}" dt="2025-04-17T12:31:33.528" v="218"/>
          <ac:spMkLst>
            <pc:docMk/>
            <pc:sldMk cId="3565198220" sldId="257"/>
            <ac:spMk id="17" creationId="{DFF9E604-CA67-181D-8E8F-E283D3D45AEB}"/>
          </ac:spMkLst>
        </pc:spChg>
        <pc:picChg chg="add mod">
          <ac:chgData name="Alexandre Zanetti de Almeida" userId="129d4ce6-e715-4d33-b4c4-312f1656225b" providerId="ADAL" clId="{B43CCD4C-FFAF-4F95-BA74-53735DFD9913}" dt="2025-04-17T12:31:33.528" v="218"/>
          <ac:picMkLst>
            <pc:docMk/>
            <pc:sldMk cId="3565198220" sldId="257"/>
            <ac:picMk id="13" creationId="{D7EBC7DD-0C7F-DD3E-0E0C-58E40EDC6560}"/>
          </ac:picMkLst>
        </pc:picChg>
        <pc:picChg chg="add mod">
          <ac:chgData name="Alexandre Zanetti de Almeida" userId="129d4ce6-e715-4d33-b4c4-312f1656225b" providerId="ADAL" clId="{B43CCD4C-FFAF-4F95-BA74-53735DFD9913}" dt="2025-04-17T12:31:33.528" v="218"/>
          <ac:picMkLst>
            <pc:docMk/>
            <pc:sldMk cId="3565198220" sldId="257"/>
            <ac:picMk id="16" creationId="{696CF840-F2AC-F04E-6A7C-314FB1603251}"/>
          </ac:picMkLst>
        </pc:picChg>
      </pc:sldChg>
      <pc:sldChg chg="addSp delSp modSp mod">
        <pc:chgData name="Alexandre Zanetti de Almeida" userId="129d4ce6-e715-4d33-b4c4-312f1656225b" providerId="ADAL" clId="{B43CCD4C-FFAF-4F95-BA74-53735DFD9913}" dt="2025-04-17T12:34:33.836" v="262"/>
        <pc:sldMkLst>
          <pc:docMk/>
          <pc:sldMk cId="3701231163" sldId="2147374605"/>
        </pc:sldMkLst>
        <pc:spChg chg="add mod">
          <ac:chgData name="Alexandre Zanetti de Almeida" userId="129d4ce6-e715-4d33-b4c4-312f1656225b" providerId="ADAL" clId="{B43CCD4C-FFAF-4F95-BA74-53735DFD9913}" dt="2025-04-17T12:34:33.836" v="262"/>
          <ac:spMkLst>
            <pc:docMk/>
            <pc:sldMk cId="3701231163" sldId="2147374605"/>
            <ac:spMk id="7" creationId="{3E7CD37E-BDC6-3948-2252-B9661C5BFB6E}"/>
          </ac:spMkLst>
        </pc:spChg>
        <pc:picChg chg="add mod">
          <ac:chgData name="Alexandre Zanetti de Almeida" userId="129d4ce6-e715-4d33-b4c4-312f1656225b" providerId="ADAL" clId="{B43CCD4C-FFAF-4F95-BA74-53735DFD9913}" dt="2025-04-17T12:34:33.836" v="262"/>
          <ac:picMkLst>
            <pc:docMk/>
            <pc:sldMk cId="3701231163" sldId="2147374605"/>
            <ac:picMk id="6" creationId="{FF78C784-74CA-E338-0907-031EAF930968}"/>
          </ac:picMkLst>
        </pc:picChg>
      </pc:sldChg>
      <pc:sldChg chg="addSp delSp modSp mod">
        <pc:chgData name="Alexandre Zanetti de Almeida" userId="129d4ce6-e715-4d33-b4c4-312f1656225b" providerId="ADAL" clId="{B43CCD4C-FFAF-4F95-BA74-53735DFD9913}" dt="2025-04-17T12:32:01.143" v="226"/>
        <pc:sldMkLst>
          <pc:docMk/>
          <pc:sldMk cId="2325758864" sldId="2147470222"/>
        </pc:sldMkLst>
        <pc:spChg chg="add mod">
          <ac:chgData name="Alexandre Zanetti de Almeida" userId="129d4ce6-e715-4d33-b4c4-312f1656225b" providerId="ADAL" clId="{B43CCD4C-FFAF-4F95-BA74-53735DFD9913}" dt="2025-04-17T12:32:01.143" v="226"/>
          <ac:spMkLst>
            <pc:docMk/>
            <pc:sldMk cId="2325758864" sldId="2147470222"/>
            <ac:spMk id="11" creationId="{75334586-1C27-E066-5791-4CF4FCFA5E6F}"/>
          </ac:spMkLst>
        </pc:spChg>
        <pc:spChg chg="add mod">
          <ac:chgData name="Alexandre Zanetti de Almeida" userId="129d4ce6-e715-4d33-b4c4-312f1656225b" providerId="ADAL" clId="{B43CCD4C-FFAF-4F95-BA74-53735DFD9913}" dt="2025-04-17T12:32:01.143" v="226"/>
          <ac:spMkLst>
            <pc:docMk/>
            <pc:sldMk cId="2325758864" sldId="2147470222"/>
            <ac:spMk id="17" creationId="{28385949-E623-6979-7AA9-3E7F4F590915}"/>
          </ac:spMkLst>
        </pc:spChg>
        <pc:spChg chg="add mod">
          <ac:chgData name="Alexandre Zanetti de Almeida" userId="129d4ce6-e715-4d33-b4c4-312f1656225b" providerId="ADAL" clId="{B43CCD4C-FFAF-4F95-BA74-53735DFD9913}" dt="2025-04-17T12:32:01.143" v="226"/>
          <ac:spMkLst>
            <pc:docMk/>
            <pc:sldMk cId="2325758864" sldId="2147470222"/>
            <ac:spMk id="18" creationId="{54E6785E-299C-5AF1-A141-B6D5047A6C4D}"/>
          </ac:spMkLst>
        </pc:spChg>
        <pc:picChg chg="add mod">
          <ac:chgData name="Alexandre Zanetti de Almeida" userId="129d4ce6-e715-4d33-b4c4-312f1656225b" providerId="ADAL" clId="{B43CCD4C-FFAF-4F95-BA74-53735DFD9913}" dt="2025-04-17T12:32:01.143" v="226"/>
          <ac:picMkLst>
            <pc:docMk/>
            <pc:sldMk cId="2325758864" sldId="2147470222"/>
            <ac:picMk id="2" creationId="{AA882DA6-D05A-A9AC-F7D4-CEFE9C55D3FF}"/>
          </ac:picMkLst>
        </pc:picChg>
        <pc:picChg chg="add mod">
          <ac:chgData name="Alexandre Zanetti de Almeida" userId="129d4ce6-e715-4d33-b4c4-312f1656225b" providerId="ADAL" clId="{B43CCD4C-FFAF-4F95-BA74-53735DFD9913}" dt="2025-04-17T12:32:01.143" v="226"/>
          <ac:picMkLst>
            <pc:docMk/>
            <pc:sldMk cId="2325758864" sldId="2147470222"/>
            <ac:picMk id="13" creationId="{37D81011-5427-0DB7-FD31-C250D9FE69C1}"/>
          </ac:picMkLst>
        </pc:picChg>
        <pc:picChg chg="add mod">
          <ac:chgData name="Alexandre Zanetti de Almeida" userId="129d4ce6-e715-4d33-b4c4-312f1656225b" providerId="ADAL" clId="{B43CCD4C-FFAF-4F95-BA74-53735DFD9913}" dt="2025-04-17T12:32:01.143" v="226"/>
          <ac:picMkLst>
            <pc:docMk/>
            <pc:sldMk cId="2325758864" sldId="2147470222"/>
            <ac:picMk id="15" creationId="{DC3B428E-108E-F1E3-0FBE-86AAE30904B6}"/>
          </ac:picMkLst>
        </pc:picChg>
      </pc:sldChg>
      <pc:sldChg chg="addSp delSp modSp mod">
        <pc:chgData name="Alexandre Zanetti de Almeida" userId="129d4ce6-e715-4d33-b4c4-312f1656225b" providerId="ADAL" clId="{B43CCD4C-FFAF-4F95-BA74-53735DFD9913}" dt="2025-04-17T12:33:54.798" v="255"/>
        <pc:sldMkLst>
          <pc:docMk/>
          <pc:sldMk cId="2737501470" sldId="2147470224"/>
        </pc:sldMkLst>
        <pc:spChg chg="add mod">
          <ac:chgData name="Alexandre Zanetti de Almeida" userId="129d4ce6-e715-4d33-b4c4-312f1656225b" providerId="ADAL" clId="{B43CCD4C-FFAF-4F95-BA74-53735DFD9913}" dt="2025-04-17T12:33:54.798" v="255"/>
          <ac:spMkLst>
            <pc:docMk/>
            <pc:sldMk cId="2737501470" sldId="2147470224"/>
            <ac:spMk id="13" creationId="{AC5E421E-DB5D-E82F-DE53-43065FF95317}"/>
          </ac:spMkLst>
        </pc:spChg>
        <pc:spChg chg="add mod">
          <ac:chgData name="Alexandre Zanetti de Almeida" userId="129d4ce6-e715-4d33-b4c4-312f1656225b" providerId="ADAL" clId="{B43CCD4C-FFAF-4F95-BA74-53735DFD9913}" dt="2025-04-17T12:33:54.798" v="255"/>
          <ac:spMkLst>
            <pc:docMk/>
            <pc:sldMk cId="2737501470" sldId="2147470224"/>
            <ac:spMk id="19" creationId="{9698308B-E0DD-84B3-EEC8-6E14C07893B0}"/>
          </ac:spMkLst>
        </pc:spChg>
        <pc:spChg chg="add mod">
          <ac:chgData name="Alexandre Zanetti de Almeida" userId="129d4ce6-e715-4d33-b4c4-312f1656225b" providerId="ADAL" clId="{B43CCD4C-FFAF-4F95-BA74-53735DFD9913}" dt="2025-04-17T12:33:54.798" v="255"/>
          <ac:spMkLst>
            <pc:docMk/>
            <pc:sldMk cId="2737501470" sldId="2147470224"/>
            <ac:spMk id="21" creationId="{5F7329C5-5652-58AC-8CE2-0D28A42D2E85}"/>
          </ac:spMkLst>
        </pc:spChg>
        <pc:spChg chg="add mod">
          <ac:chgData name="Alexandre Zanetti de Almeida" userId="129d4ce6-e715-4d33-b4c4-312f1656225b" providerId="ADAL" clId="{B43CCD4C-FFAF-4F95-BA74-53735DFD9913}" dt="2025-04-17T12:33:54.798" v="255"/>
          <ac:spMkLst>
            <pc:docMk/>
            <pc:sldMk cId="2737501470" sldId="2147470224"/>
            <ac:spMk id="22" creationId="{20DE90AE-412F-261F-3982-C25730F243DD}"/>
          </ac:spMkLst>
        </pc:spChg>
        <pc:spChg chg="add mod">
          <ac:chgData name="Alexandre Zanetti de Almeida" userId="129d4ce6-e715-4d33-b4c4-312f1656225b" providerId="ADAL" clId="{B43CCD4C-FFAF-4F95-BA74-53735DFD9913}" dt="2025-04-17T12:33:54.798" v="255"/>
          <ac:spMkLst>
            <pc:docMk/>
            <pc:sldMk cId="2737501470" sldId="2147470224"/>
            <ac:spMk id="23" creationId="{2F7D89EA-FC1A-B3E0-8D3A-D27508AABD72}"/>
          </ac:spMkLst>
        </pc:spChg>
        <pc:picChg chg="add mod">
          <ac:chgData name="Alexandre Zanetti de Almeida" userId="129d4ce6-e715-4d33-b4c4-312f1656225b" providerId="ADAL" clId="{B43CCD4C-FFAF-4F95-BA74-53735DFD9913}" dt="2025-04-17T12:33:54.798" v="255"/>
          <ac:picMkLst>
            <pc:docMk/>
            <pc:sldMk cId="2737501470" sldId="2147470224"/>
            <ac:picMk id="6" creationId="{5BE80F29-4B1C-19FD-F9E4-3E4305F21E7C}"/>
          </ac:picMkLst>
        </pc:picChg>
        <pc:picChg chg="add mod">
          <ac:chgData name="Alexandre Zanetti de Almeida" userId="129d4ce6-e715-4d33-b4c4-312f1656225b" providerId="ADAL" clId="{B43CCD4C-FFAF-4F95-BA74-53735DFD9913}" dt="2025-04-17T12:33:54.798" v="255"/>
          <ac:picMkLst>
            <pc:docMk/>
            <pc:sldMk cId="2737501470" sldId="2147470224"/>
            <ac:picMk id="15" creationId="{7C02FD2B-3180-9044-34BC-1019D9FE3024}"/>
          </ac:picMkLst>
        </pc:picChg>
        <pc:picChg chg="add mod">
          <ac:chgData name="Alexandre Zanetti de Almeida" userId="129d4ce6-e715-4d33-b4c4-312f1656225b" providerId="ADAL" clId="{B43CCD4C-FFAF-4F95-BA74-53735DFD9913}" dt="2025-04-17T12:33:54.798" v="255"/>
          <ac:picMkLst>
            <pc:docMk/>
            <pc:sldMk cId="2737501470" sldId="2147470224"/>
            <ac:picMk id="17" creationId="{C68A19EF-3F87-DBB8-24A3-56C4A3176552}"/>
          </ac:picMkLst>
        </pc:picChg>
        <pc:cxnChg chg="add mod">
          <ac:chgData name="Alexandre Zanetti de Almeida" userId="129d4ce6-e715-4d33-b4c4-312f1656225b" providerId="ADAL" clId="{B43CCD4C-FFAF-4F95-BA74-53735DFD9913}" dt="2025-04-17T12:33:54.798" v="255"/>
          <ac:cxnSpMkLst>
            <pc:docMk/>
            <pc:sldMk cId="2737501470" sldId="2147470224"/>
            <ac:cxnSpMk id="18" creationId="{9A4ABCBB-5B72-5FD2-CD58-3524AEC6EEBF}"/>
          </ac:cxnSpMkLst>
        </pc:cxnChg>
        <pc:cxnChg chg="add mod">
          <ac:chgData name="Alexandre Zanetti de Almeida" userId="129d4ce6-e715-4d33-b4c4-312f1656225b" providerId="ADAL" clId="{B43CCD4C-FFAF-4F95-BA74-53735DFD9913}" dt="2025-04-17T12:33:54.798" v="255"/>
          <ac:cxnSpMkLst>
            <pc:docMk/>
            <pc:sldMk cId="2737501470" sldId="2147470224"/>
            <ac:cxnSpMk id="20" creationId="{CF5AB65D-A3E0-2813-B7C9-EB9C1D0F8052}"/>
          </ac:cxnSpMkLst>
        </pc:cxnChg>
      </pc:sldChg>
      <pc:sldChg chg="addSp delSp modSp mod">
        <pc:chgData name="Alexandre Zanetti de Almeida" userId="129d4ce6-e715-4d33-b4c4-312f1656225b" providerId="ADAL" clId="{B43CCD4C-FFAF-4F95-BA74-53735DFD9913}" dt="2025-04-17T12:33:47.879" v="253"/>
        <pc:sldMkLst>
          <pc:docMk/>
          <pc:sldMk cId="2810827689" sldId="2147470225"/>
        </pc:sldMkLst>
        <pc:spChg chg="add mod">
          <ac:chgData name="Alexandre Zanetti de Almeida" userId="129d4ce6-e715-4d33-b4c4-312f1656225b" providerId="ADAL" clId="{B43CCD4C-FFAF-4F95-BA74-53735DFD9913}" dt="2025-04-17T12:33:47.879" v="253"/>
          <ac:spMkLst>
            <pc:docMk/>
            <pc:sldMk cId="2810827689" sldId="2147470225"/>
            <ac:spMk id="5" creationId="{DC6646CE-2BAE-00B1-74CF-1694A4BAFC7A}"/>
          </ac:spMkLst>
        </pc:spChg>
        <pc:spChg chg="add mod">
          <ac:chgData name="Alexandre Zanetti de Almeida" userId="129d4ce6-e715-4d33-b4c4-312f1656225b" providerId="ADAL" clId="{B43CCD4C-FFAF-4F95-BA74-53735DFD9913}" dt="2025-04-17T12:33:47.879" v="253"/>
          <ac:spMkLst>
            <pc:docMk/>
            <pc:sldMk cId="2810827689" sldId="2147470225"/>
            <ac:spMk id="22" creationId="{944A941D-0B8F-FB56-1E72-BECEAC3D22A6}"/>
          </ac:spMkLst>
        </pc:spChg>
        <pc:spChg chg="add mod">
          <ac:chgData name="Alexandre Zanetti de Almeida" userId="129d4ce6-e715-4d33-b4c4-312f1656225b" providerId="ADAL" clId="{B43CCD4C-FFAF-4F95-BA74-53735DFD9913}" dt="2025-04-17T12:33:47.879" v="253"/>
          <ac:spMkLst>
            <pc:docMk/>
            <pc:sldMk cId="2810827689" sldId="2147470225"/>
            <ac:spMk id="24" creationId="{10A7A218-2464-64CD-D158-D3432F24C63A}"/>
          </ac:spMkLst>
        </pc:spChg>
        <pc:spChg chg="add mod">
          <ac:chgData name="Alexandre Zanetti de Almeida" userId="129d4ce6-e715-4d33-b4c4-312f1656225b" providerId="ADAL" clId="{B43CCD4C-FFAF-4F95-BA74-53735DFD9913}" dt="2025-04-17T12:33:47.879" v="253"/>
          <ac:spMkLst>
            <pc:docMk/>
            <pc:sldMk cId="2810827689" sldId="2147470225"/>
            <ac:spMk id="25" creationId="{55D180E4-6CFE-C152-9770-08FC1F15BEEF}"/>
          </ac:spMkLst>
        </pc:spChg>
        <pc:picChg chg="add mod">
          <ac:chgData name="Alexandre Zanetti de Almeida" userId="129d4ce6-e715-4d33-b4c4-312f1656225b" providerId="ADAL" clId="{B43CCD4C-FFAF-4F95-BA74-53735DFD9913}" dt="2025-04-17T12:33:47.879" v="253"/>
          <ac:picMkLst>
            <pc:docMk/>
            <pc:sldMk cId="2810827689" sldId="2147470225"/>
            <ac:picMk id="4" creationId="{3E56FBD8-4E9D-09B4-17B9-4CC6E68645EB}"/>
          </ac:picMkLst>
        </pc:picChg>
        <pc:picChg chg="add mod">
          <ac:chgData name="Alexandre Zanetti de Almeida" userId="129d4ce6-e715-4d33-b4c4-312f1656225b" providerId="ADAL" clId="{B43CCD4C-FFAF-4F95-BA74-53735DFD9913}" dt="2025-04-17T12:33:47.879" v="253"/>
          <ac:picMkLst>
            <pc:docMk/>
            <pc:sldMk cId="2810827689" sldId="2147470225"/>
            <ac:picMk id="6" creationId="{49C72B22-606F-AA93-748A-B8D662E6F023}"/>
          </ac:picMkLst>
        </pc:picChg>
        <pc:picChg chg="add mod">
          <ac:chgData name="Alexandre Zanetti de Almeida" userId="129d4ce6-e715-4d33-b4c4-312f1656225b" providerId="ADAL" clId="{B43CCD4C-FFAF-4F95-BA74-53735DFD9913}" dt="2025-04-17T12:33:47.879" v="253"/>
          <ac:picMkLst>
            <pc:docMk/>
            <pc:sldMk cId="2810827689" sldId="2147470225"/>
            <ac:picMk id="20" creationId="{CA41F534-6782-641F-4FCB-742022EED784}"/>
          </ac:picMkLst>
        </pc:picChg>
        <pc:cxnChg chg="add mod">
          <ac:chgData name="Alexandre Zanetti de Almeida" userId="129d4ce6-e715-4d33-b4c4-312f1656225b" providerId="ADAL" clId="{B43CCD4C-FFAF-4F95-BA74-53735DFD9913}" dt="2025-04-17T12:33:47.879" v="253"/>
          <ac:cxnSpMkLst>
            <pc:docMk/>
            <pc:sldMk cId="2810827689" sldId="2147470225"/>
            <ac:cxnSpMk id="21" creationId="{AC66674E-0A5D-2130-9FF2-F2D2351EB745}"/>
          </ac:cxnSpMkLst>
        </pc:cxnChg>
        <pc:cxnChg chg="add mod">
          <ac:chgData name="Alexandre Zanetti de Almeida" userId="129d4ce6-e715-4d33-b4c4-312f1656225b" providerId="ADAL" clId="{B43CCD4C-FFAF-4F95-BA74-53735DFD9913}" dt="2025-04-17T12:33:47.879" v="253"/>
          <ac:cxnSpMkLst>
            <pc:docMk/>
            <pc:sldMk cId="2810827689" sldId="2147470225"/>
            <ac:cxnSpMk id="23" creationId="{2B5B8A0F-FFA7-BDFF-7AE2-2CEEC949A0F2}"/>
          </ac:cxnSpMkLst>
        </pc:cxnChg>
      </pc:sldChg>
      <pc:sldChg chg="addSp delSp modSp mod">
        <pc:chgData name="Alexandre Zanetti de Almeida" userId="129d4ce6-e715-4d33-b4c4-312f1656225b" providerId="ADAL" clId="{B43CCD4C-FFAF-4F95-BA74-53735DFD9913}" dt="2025-04-17T12:33:40.017" v="251"/>
        <pc:sldMkLst>
          <pc:docMk/>
          <pc:sldMk cId="1966549300" sldId="2147470226"/>
        </pc:sldMkLst>
        <pc:spChg chg="add mod">
          <ac:chgData name="Alexandre Zanetti de Almeida" userId="129d4ce6-e715-4d33-b4c4-312f1656225b" providerId="ADAL" clId="{B43CCD4C-FFAF-4F95-BA74-53735DFD9913}" dt="2025-04-17T12:33:40.017" v="251"/>
          <ac:spMkLst>
            <pc:docMk/>
            <pc:sldMk cId="1966549300" sldId="2147470226"/>
            <ac:spMk id="5" creationId="{A84A60BD-1D02-B0F6-C2C5-17576F9DEAB2}"/>
          </ac:spMkLst>
        </pc:spChg>
        <pc:spChg chg="add mod">
          <ac:chgData name="Alexandre Zanetti de Almeida" userId="129d4ce6-e715-4d33-b4c4-312f1656225b" providerId="ADAL" clId="{B43CCD4C-FFAF-4F95-BA74-53735DFD9913}" dt="2025-04-17T12:33:40.017" v="251"/>
          <ac:spMkLst>
            <pc:docMk/>
            <pc:sldMk cId="1966549300" sldId="2147470226"/>
            <ac:spMk id="15" creationId="{545E56F6-36BA-AE3F-E3B6-82CF4FBDC96F}"/>
          </ac:spMkLst>
        </pc:spChg>
        <pc:picChg chg="add mod">
          <ac:chgData name="Alexandre Zanetti de Almeida" userId="129d4ce6-e715-4d33-b4c4-312f1656225b" providerId="ADAL" clId="{B43CCD4C-FFAF-4F95-BA74-53735DFD9913}" dt="2025-04-17T12:33:40.017" v="251"/>
          <ac:picMkLst>
            <pc:docMk/>
            <pc:sldMk cId="1966549300" sldId="2147470226"/>
            <ac:picMk id="4" creationId="{3D8B9ECA-C429-88A0-C86A-83D8AEE1096F}"/>
          </ac:picMkLst>
        </pc:picChg>
        <pc:picChg chg="add mod">
          <ac:chgData name="Alexandre Zanetti de Almeida" userId="129d4ce6-e715-4d33-b4c4-312f1656225b" providerId="ADAL" clId="{B43CCD4C-FFAF-4F95-BA74-53735DFD9913}" dt="2025-04-17T12:33:40.017" v="251"/>
          <ac:picMkLst>
            <pc:docMk/>
            <pc:sldMk cId="1966549300" sldId="2147470226"/>
            <ac:picMk id="7" creationId="{4806D520-DA20-5326-B25F-C8511ADFB24E}"/>
          </ac:picMkLst>
        </pc:picChg>
        <pc:picChg chg="add mod">
          <ac:chgData name="Alexandre Zanetti de Almeida" userId="129d4ce6-e715-4d33-b4c4-312f1656225b" providerId="ADAL" clId="{B43CCD4C-FFAF-4F95-BA74-53735DFD9913}" dt="2025-04-17T12:33:40.017" v="251"/>
          <ac:picMkLst>
            <pc:docMk/>
            <pc:sldMk cId="1966549300" sldId="2147470226"/>
            <ac:picMk id="11" creationId="{3C96B4DE-5B0D-1F18-81E4-D15BF5711C05}"/>
          </ac:picMkLst>
        </pc:picChg>
        <pc:cxnChg chg="add mod">
          <ac:chgData name="Alexandre Zanetti de Almeida" userId="129d4ce6-e715-4d33-b4c4-312f1656225b" providerId="ADAL" clId="{B43CCD4C-FFAF-4F95-BA74-53735DFD9913}" dt="2025-04-17T12:33:40.017" v="251"/>
          <ac:cxnSpMkLst>
            <pc:docMk/>
            <pc:sldMk cId="1966549300" sldId="2147470226"/>
            <ac:cxnSpMk id="13" creationId="{E1745AAF-7C80-B52A-216A-156073425606}"/>
          </ac:cxnSpMkLst>
        </pc:cxnChg>
        <pc:cxnChg chg="add mod">
          <ac:chgData name="Alexandre Zanetti de Almeida" userId="129d4ce6-e715-4d33-b4c4-312f1656225b" providerId="ADAL" clId="{B43CCD4C-FFAF-4F95-BA74-53735DFD9913}" dt="2025-04-17T12:33:40.017" v="251"/>
          <ac:cxnSpMkLst>
            <pc:docMk/>
            <pc:sldMk cId="1966549300" sldId="2147470226"/>
            <ac:cxnSpMk id="18" creationId="{281E21E8-51E8-38C2-97AA-E65D5F3A7D7F}"/>
          </ac:cxnSpMkLst>
        </pc:cxnChg>
      </pc:sldChg>
      <pc:sldChg chg="addSp delSp modSp mod">
        <pc:chgData name="Alexandre Zanetti de Almeida" userId="129d4ce6-e715-4d33-b4c4-312f1656225b" providerId="ADAL" clId="{B43CCD4C-FFAF-4F95-BA74-53735DFD9913}" dt="2025-04-17T12:33:33.049" v="249"/>
        <pc:sldMkLst>
          <pc:docMk/>
          <pc:sldMk cId="1725103351" sldId="2147470227"/>
        </pc:sldMkLst>
        <pc:spChg chg="add mod">
          <ac:chgData name="Alexandre Zanetti de Almeida" userId="129d4ce6-e715-4d33-b4c4-312f1656225b" providerId="ADAL" clId="{B43CCD4C-FFAF-4F95-BA74-53735DFD9913}" dt="2025-04-17T12:33:33.049" v="249"/>
          <ac:spMkLst>
            <pc:docMk/>
            <pc:sldMk cId="1725103351" sldId="2147470227"/>
            <ac:spMk id="5" creationId="{8CCC9319-EDB8-50C9-EE47-A1ADC4A439CB}"/>
          </ac:spMkLst>
        </pc:spChg>
        <pc:spChg chg="add mod">
          <ac:chgData name="Alexandre Zanetti de Almeida" userId="129d4ce6-e715-4d33-b4c4-312f1656225b" providerId="ADAL" clId="{B43CCD4C-FFAF-4F95-BA74-53735DFD9913}" dt="2025-04-17T12:33:33.049" v="249"/>
          <ac:spMkLst>
            <pc:docMk/>
            <pc:sldMk cId="1725103351" sldId="2147470227"/>
            <ac:spMk id="15" creationId="{5C97F38A-6F2B-F632-3AEA-B0AD26AB7D3E}"/>
          </ac:spMkLst>
        </pc:spChg>
        <pc:picChg chg="add mod">
          <ac:chgData name="Alexandre Zanetti de Almeida" userId="129d4ce6-e715-4d33-b4c4-312f1656225b" providerId="ADAL" clId="{B43CCD4C-FFAF-4F95-BA74-53735DFD9913}" dt="2025-04-17T12:33:33.049" v="249"/>
          <ac:picMkLst>
            <pc:docMk/>
            <pc:sldMk cId="1725103351" sldId="2147470227"/>
            <ac:picMk id="4" creationId="{E22F0611-FB40-566E-B12F-97B368CB0F04}"/>
          </ac:picMkLst>
        </pc:picChg>
        <pc:picChg chg="add mod">
          <ac:chgData name="Alexandre Zanetti de Almeida" userId="129d4ce6-e715-4d33-b4c4-312f1656225b" providerId="ADAL" clId="{B43CCD4C-FFAF-4F95-BA74-53735DFD9913}" dt="2025-04-17T12:33:33.049" v="249"/>
          <ac:picMkLst>
            <pc:docMk/>
            <pc:sldMk cId="1725103351" sldId="2147470227"/>
            <ac:picMk id="7" creationId="{00F143CF-8D3E-71CF-844F-E4D5A0BCFC27}"/>
          </ac:picMkLst>
        </pc:picChg>
        <pc:picChg chg="add mod">
          <ac:chgData name="Alexandre Zanetti de Almeida" userId="129d4ce6-e715-4d33-b4c4-312f1656225b" providerId="ADAL" clId="{B43CCD4C-FFAF-4F95-BA74-53735DFD9913}" dt="2025-04-17T12:33:33.049" v="249"/>
          <ac:picMkLst>
            <pc:docMk/>
            <pc:sldMk cId="1725103351" sldId="2147470227"/>
            <ac:picMk id="13" creationId="{99DCBBB9-71AC-0ACF-4994-605A0F6BC4E1}"/>
          </ac:picMkLst>
        </pc:picChg>
        <pc:cxnChg chg="add mod">
          <ac:chgData name="Alexandre Zanetti de Almeida" userId="129d4ce6-e715-4d33-b4c4-312f1656225b" providerId="ADAL" clId="{B43CCD4C-FFAF-4F95-BA74-53735DFD9913}" dt="2025-04-17T12:33:33.049" v="249"/>
          <ac:cxnSpMkLst>
            <pc:docMk/>
            <pc:sldMk cId="1725103351" sldId="2147470227"/>
            <ac:cxnSpMk id="11" creationId="{FFA5AD2D-2F83-E889-6C00-78742D39C969}"/>
          </ac:cxnSpMkLst>
        </pc:cxnChg>
        <pc:cxnChg chg="add mod">
          <ac:chgData name="Alexandre Zanetti de Almeida" userId="129d4ce6-e715-4d33-b4c4-312f1656225b" providerId="ADAL" clId="{B43CCD4C-FFAF-4F95-BA74-53735DFD9913}" dt="2025-04-17T12:33:33.049" v="249"/>
          <ac:cxnSpMkLst>
            <pc:docMk/>
            <pc:sldMk cId="1725103351" sldId="2147470227"/>
            <ac:cxnSpMk id="18" creationId="{5D5A46EB-20E8-3023-2CD6-51E27446A7CB}"/>
          </ac:cxnSpMkLst>
        </pc:cxnChg>
      </pc:sldChg>
      <pc:sldChg chg="addSp delSp modSp mod">
        <pc:chgData name="Alexandre Zanetti de Almeida" userId="129d4ce6-e715-4d33-b4c4-312f1656225b" providerId="ADAL" clId="{B43CCD4C-FFAF-4F95-BA74-53735DFD9913}" dt="2025-04-17T12:33:25.249" v="247"/>
        <pc:sldMkLst>
          <pc:docMk/>
          <pc:sldMk cId="889116542" sldId="2147470228"/>
        </pc:sldMkLst>
        <pc:spChg chg="add mod">
          <ac:chgData name="Alexandre Zanetti de Almeida" userId="129d4ce6-e715-4d33-b4c4-312f1656225b" providerId="ADAL" clId="{B43CCD4C-FFAF-4F95-BA74-53735DFD9913}" dt="2025-04-17T12:33:25.249" v="247"/>
          <ac:spMkLst>
            <pc:docMk/>
            <pc:sldMk cId="889116542" sldId="2147470228"/>
            <ac:spMk id="19" creationId="{24F9D1DE-AF87-B50E-96C9-7C96B5E6E3DC}"/>
          </ac:spMkLst>
        </pc:spChg>
        <pc:spChg chg="add mod">
          <ac:chgData name="Alexandre Zanetti de Almeida" userId="129d4ce6-e715-4d33-b4c4-312f1656225b" providerId="ADAL" clId="{B43CCD4C-FFAF-4F95-BA74-53735DFD9913}" dt="2025-04-17T12:33:25.249" v="247"/>
          <ac:spMkLst>
            <pc:docMk/>
            <pc:sldMk cId="889116542" sldId="2147470228"/>
            <ac:spMk id="24" creationId="{3C70620D-8F56-CC6C-E010-E56BD5A88E4C}"/>
          </ac:spMkLst>
        </pc:spChg>
        <pc:picChg chg="add mod">
          <ac:chgData name="Alexandre Zanetti de Almeida" userId="129d4ce6-e715-4d33-b4c4-312f1656225b" providerId="ADAL" clId="{B43CCD4C-FFAF-4F95-BA74-53735DFD9913}" dt="2025-04-17T12:33:25.249" v="247"/>
          <ac:picMkLst>
            <pc:docMk/>
            <pc:sldMk cId="889116542" sldId="2147470228"/>
            <ac:picMk id="3" creationId="{2A504415-6C33-16D6-4BD7-B59A430A4990}"/>
          </ac:picMkLst>
        </pc:picChg>
        <pc:picChg chg="add mod">
          <ac:chgData name="Alexandre Zanetti de Almeida" userId="129d4ce6-e715-4d33-b4c4-312f1656225b" providerId="ADAL" clId="{B43CCD4C-FFAF-4F95-BA74-53735DFD9913}" dt="2025-04-17T12:33:25.249" v="247"/>
          <ac:picMkLst>
            <pc:docMk/>
            <pc:sldMk cId="889116542" sldId="2147470228"/>
            <ac:picMk id="13" creationId="{3469AACB-5D3E-23A8-5C22-1AAFD1F21D5C}"/>
          </ac:picMkLst>
        </pc:picChg>
        <pc:picChg chg="add mod">
          <ac:chgData name="Alexandre Zanetti de Almeida" userId="129d4ce6-e715-4d33-b4c4-312f1656225b" providerId="ADAL" clId="{B43CCD4C-FFAF-4F95-BA74-53735DFD9913}" dt="2025-04-17T12:33:25.249" v="247"/>
          <ac:picMkLst>
            <pc:docMk/>
            <pc:sldMk cId="889116542" sldId="2147470228"/>
            <ac:picMk id="18" creationId="{9AB4DE79-782F-F692-7314-B1B92EDDCE79}"/>
          </ac:picMkLst>
        </pc:picChg>
        <pc:picChg chg="add mod">
          <ac:chgData name="Alexandre Zanetti de Almeida" userId="129d4ce6-e715-4d33-b4c4-312f1656225b" providerId="ADAL" clId="{B43CCD4C-FFAF-4F95-BA74-53735DFD9913}" dt="2025-04-17T12:33:25.249" v="247"/>
          <ac:picMkLst>
            <pc:docMk/>
            <pc:sldMk cId="889116542" sldId="2147470228"/>
            <ac:picMk id="20" creationId="{E2FE6D06-08F5-95AB-6484-5190F6B9B5EA}"/>
          </ac:picMkLst>
        </pc:picChg>
        <pc:picChg chg="add mod">
          <ac:chgData name="Alexandre Zanetti de Almeida" userId="129d4ce6-e715-4d33-b4c4-312f1656225b" providerId="ADAL" clId="{B43CCD4C-FFAF-4F95-BA74-53735DFD9913}" dt="2025-04-17T12:33:25.249" v="247"/>
          <ac:picMkLst>
            <pc:docMk/>
            <pc:sldMk cId="889116542" sldId="2147470228"/>
            <ac:picMk id="21" creationId="{8D460F8B-625C-937A-CCBD-5E1A7BB4B455}"/>
          </ac:picMkLst>
        </pc:picChg>
        <pc:cxnChg chg="add mod">
          <ac:chgData name="Alexandre Zanetti de Almeida" userId="129d4ce6-e715-4d33-b4c4-312f1656225b" providerId="ADAL" clId="{B43CCD4C-FFAF-4F95-BA74-53735DFD9913}" dt="2025-04-17T12:33:25.249" v="247"/>
          <ac:cxnSpMkLst>
            <pc:docMk/>
            <pc:sldMk cId="889116542" sldId="2147470228"/>
            <ac:cxnSpMk id="22" creationId="{0D9E6AA1-CF5B-69D2-DF4F-E31105CE9272}"/>
          </ac:cxnSpMkLst>
        </pc:cxnChg>
        <pc:cxnChg chg="add mod">
          <ac:chgData name="Alexandre Zanetti de Almeida" userId="129d4ce6-e715-4d33-b4c4-312f1656225b" providerId="ADAL" clId="{B43CCD4C-FFAF-4F95-BA74-53735DFD9913}" dt="2025-04-17T12:33:25.249" v="247"/>
          <ac:cxnSpMkLst>
            <pc:docMk/>
            <pc:sldMk cId="889116542" sldId="2147470228"/>
            <ac:cxnSpMk id="23" creationId="{7640EA2C-BFC7-CC9D-B8DB-09F920166649}"/>
          </ac:cxnSpMkLst>
        </pc:cxnChg>
      </pc:sldChg>
      <pc:sldChg chg="del">
        <pc:chgData name="Alexandre Zanetti de Almeida" userId="129d4ce6-e715-4d33-b4c4-312f1656225b" providerId="ADAL" clId="{B43CCD4C-FFAF-4F95-BA74-53735DFD9913}" dt="2025-04-17T12:33:59.650" v="256" actId="47"/>
        <pc:sldMkLst>
          <pc:docMk/>
          <pc:sldMk cId="1016236958" sldId="2147470229"/>
        </pc:sldMkLst>
      </pc:sldChg>
      <pc:sldChg chg="del">
        <pc:chgData name="Alexandre Zanetti de Almeida" userId="129d4ce6-e715-4d33-b4c4-312f1656225b" providerId="ADAL" clId="{B43CCD4C-FFAF-4F95-BA74-53735DFD9913}" dt="2025-04-17T12:34:11.898" v="257" actId="47"/>
        <pc:sldMkLst>
          <pc:docMk/>
          <pc:sldMk cId="1072401756" sldId="2147470230"/>
        </pc:sldMkLst>
      </pc:sldChg>
      <pc:sldChg chg="del">
        <pc:chgData name="Alexandre Zanetti de Almeida" userId="129d4ce6-e715-4d33-b4c4-312f1656225b" providerId="ADAL" clId="{B43CCD4C-FFAF-4F95-BA74-53735DFD9913}" dt="2025-04-17T12:34:22.652" v="260" actId="47"/>
        <pc:sldMkLst>
          <pc:docMk/>
          <pc:sldMk cId="3918225123" sldId="2147470233"/>
        </pc:sldMkLst>
      </pc:sldChg>
      <pc:sldChg chg="addSp delSp modSp mod">
        <pc:chgData name="Alexandre Zanetti de Almeida" userId="129d4ce6-e715-4d33-b4c4-312f1656225b" providerId="ADAL" clId="{B43CCD4C-FFAF-4F95-BA74-53735DFD9913}" dt="2025-04-17T12:33:16.065" v="245"/>
        <pc:sldMkLst>
          <pc:docMk/>
          <pc:sldMk cId="2097707483" sldId="2147470235"/>
        </pc:sldMkLst>
        <pc:spChg chg="add mod">
          <ac:chgData name="Alexandre Zanetti de Almeida" userId="129d4ce6-e715-4d33-b4c4-312f1656225b" providerId="ADAL" clId="{B43CCD4C-FFAF-4F95-BA74-53735DFD9913}" dt="2025-04-17T12:33:16.065" v="245"/>
          <ac:spMkLst>
            <pc:docMk/>
            <pc:sldMk cId="2097707483" sldId="2147470235"/>
            <ac:spMk id="4" creationId="{892D3D94-15EB-DB7E-17CF-8CFE7001345A}"/>
          </ac:spMkLst>
        </pc:spChg>
        <pc:spChg chg="add mod">
          <ac:chgData name="Alexandre Zanetti de Almeida" userId="129d4ce6-e715-4d33-b4c4-312f1656225b" providerId="ADAL" clId="{B43CCD4C-FFAF-4F95-BA74-53735DFD9913}" dt="2025-04-17T12:33:16.065" v="245"/>
          <ac:spMkLst>
            <pc:docMk/>
            <pc:sldMk cId="2097707483" sldId="2147470235"/>
            <ac:spMk id="18" creationId="{4274E2E5-51ED-67F2-EC8D-32E03C11605F}"/>
          </ac:spMkLst>
        </pc:spChg>
        <pc:picChg chg="add mod">
          <ac:chgData name="Alexandre Zanetti de Almeida" userId="129d4ce6-e715-4d33-b4c4-312f1656225b" providerId="ADAL" clId="{B43CCD4C-FFAF-4F95-BA74-53735DFD9913}" dt="2025-04-17T12:33:16.065" v="245"/>
          <ac:picMkLst>
            <pc:docMk/>
            <pc:sldMk cId="2097707483" sldId="2147470235"/>
            <ac:picMk id="3" creationId="{529A1860-31C4-47CF-C8EE-445BDF12F9CF}"/>
          </ac:picMkLst>
        </pc:picChg>
        <pc:picChg chg="add mod">
          <ac:chgData name="Alexandre Zanetti de Almeida" userId="129d4ce6-e715-4d33-b4c4-312f1656225b" providerId="ADAL" clId="{B43CCD4C-FFAF-4F95-BA74-53735DFD9913}" dt="2025-04-17T12:33:16.065" v="245"/>
          <ac:picMkLst>
            <pc:docMk/>
            <pc:sldMk cId="2097707483" sldId="2147470235"/>
            <ac:picMk id="7" creationId="{82E7EA00-ACB1-AB01-2338-591504981BAE}"/>
          </ac:picMkLst>
        </pc:picChg>
        <pc:picChg chg="add mod">
          <ac:chgData name="Alexandre Zanetti de Almeida" userId="129d4ce6-e715-4d33-b4c4-312f1656225b" providerId="ADAL" clId="{B43CCD4C-FFAF-4F95-BA74-53735DFD9913}" dt="2025-04-17T12:33:16.065" v="245"/>
          <ac:picMkLst>
            <pc:docMk/>
            <pc:sldMk cId="2097707483" sldId="2147470235"/>
            <ac:picMk id="11" creationId="{37217482-C395-26FD-8957-3C3F53D1DE93}"/>
          </ac:picMkLst>
        </pc:picChg>
        <pc:picChg chg="add mod">
          <ac:chgData name="Alexandre Zanetti de Almeida" userId="129d4ce6-e715-4d33-b4c4-312f1656225b" providerId="ADAL" clId="{B43CCD4C-FFAF-4F95-BA74-53735DFD9913}" dt="2025-04-17T12:33:16.065" v="245"/>
          <ac:picMkLst>
            <pc:docMk/>
            <pc:sldMk cId="2097707483" sldId="2147470235"/>
            <ac:picMk id="13" creationId="{AE4A15C7-C7B7-ED0B-79B1-EF9064030A96}"/>
          </ac:picMkLst>
        </pc:picChg>
        <pc:cxnChg chg="add mod">
          <ac:chgData name="Alexandre Zanetti de Almeida" userId="129d4ce6-e715-4d33-b4c4-312f1656225b" providerId="ADAL" clId="{B43CCD4C-FFAF-4F95-BA74-53735DFD9913}" dt="2025-04-17T12:33:16.065" v="245"/>
          <ac:cxnSpMkLst>
            <pc:docMk/>
            <pc:sldMk cId="2097707483" sldId="2147470235"/>
            <ac:cxnSpMk id="6" creationId="{0C2D00BE-97E4-F5CA-B1BA-C96DA4E27694}"/>
          </ac:cxnSpMkLst>
        </pc:cxnChg>
        <pc:cxnChg chg="add mod">
          <ac:chgData name="Alexandre Zanetti de Almeida" userId="129d4ce6-e715-4d33-b4c4-312f1656225b" providerId="ADAL" clId="{B43CCD4C-FFAF-4F95-BA74-53735DFD9913}" dt="2025-04-17T12:33:16.065" v="245"/>
          <ac:cxnSpMkLst>
            <pc:docMk/>
            <pc:sldMk cId="2097707483" sldId="2147470235"/>
            <ac:cxnSpMk id="15" creationId="{5580AD1E-D32D-8609-0665-3E2BB1D90F84}"/>
          </ac:cxnSpMkLst>
        </pc:cxnChg>
      </pc:sldChg>
      <pc:sldChg chg="del">
        <pc:chgData name="Alexandre Zanetti de Almeida" userId="129d4ce6-e715-4d33-b4c4-312f1656225b" providerId="ADAL" clId="{B43CCD4C-FFAF-4F95-BA74-53735DFD9913}" dt="2025-04-17T12:34:13.219" v="258" actId="47"/>
        <pc:sldMkLst>
          <pc:docMk/>
          <pc:sldMk cId="2159936922" sldId="2147470237"/>
        </pc:sldMkLst>
      </pc:sldChg>
      <pc:sldChg chg="del">
        <pc:chgData name="Alexandre Zanetti de Almeida" userId="129d4ce6-e715-4d33-b4c4-312f1656225b" providerId="ADAL" clId="{B43CCD4C-FFAF-4F95-BA74-53735DFD9913}" dt="2025-04-17T12:34:15.293" v="259" actId="47"/>
        <pc:sldMkLst>
          <pc:docMk/>
          <pc:sldMk cId="3382901393" sldId="2147470242"/>
        </pc:sldMkLst>
      </pc:sldChg>
      <pc:sldChg chg="mod modShow">
        <pc:chgData name="Alexandre Zanetti de Almeida" userId="129d4ce6-e715-4d33-b4c4-312f1656225b" providerId="ADAL" clId="{B43CCD4C-FFAF-4F95-BA74-53735DFD9913}" dt="2025-04-17T12:32:10.616" v="227" actId="729"/>
        <pc:sldMkLst>
          <pc:docMk/>
          <pc:sldMk cId="3138549392" sldId="2147470247"/>
        </pc:sldMkLst>
      </pc:sldChg>
      <pc:sldChg chg="modSp add mod">
        <pc:chgData name="Alexandre Zanetti de Almeida" userId="129d4ce6-e715-4d33-b4c4-312f1656225b" providerId="ADAL" clId="{B43CCD4C-FFAF-4F95-BA74-53735DFD9913}" dt="2025-04-17T12:32:45.469" v="243" actId="20577"/>
        <pc:sldMkLst>
          <pc:docMk/>
          <pc:sldMk cId="2733684968" sldId="2147470249"/>
        </pc:sldMkLst>
      </pc:sldChg>
    </pc:docChg>
  </pc:docChgLst>
  <pc:docChgLst>
    <pc:chgData name="Alexandre Zanetti de Almeida" userId="129d4ce6-e715-4d33-b4c4-312f1656225b" providerId="ADAL" clId="{C12FB475-700D-4592-8CA7-148A542E339D}"/>
    <pc:docChg chg="delSld modSection">
      <pc:chgData name="Alexandre Zanetti de Almeida" userId="129d4ce6-e715-4d33-b4c4-312f1656225b" providerId="ADAL" clId="{C12FB475-700D-4592-8CA7-148A542E339D}" dt="2024-12-19T14:43:07.493" v="0" actId="47"/>
      <pc:docMkLst>
        <pc:docMk/>
      </pc:docMkLst>
      <pc:sldChg chg="del">
        <pc:chgData name="Alexandre Zanetti de Almeida" userId="129d4ce6-e715-4d33-b4c4-312f1656225b" providerId="ADAL" clId="{C12FB475-700D-4592-8CA7-148A542E339D}" dt="2024-12-19T14:43:07.493" v="0" actId="47"/>
        <pc:sldMkLst>
          <pc:docMk/>
          <pc:sldMk cId="1138822648" sldId="2147470249"/>
        </pc:sldMkLst>
      </pc:sldChg>
    </pc:docChg>
  </pc:docChgLst>
  <pc:docChgLst>
    <pc:chgData name="Alexandre Zanetti de Almeida" userId="129d4ce6-e715-4d33-b4c4-312f1656225b" providerId="ADAL" clId="{588B9DB1-5659-4DE1-805E-57B0F19426CD}"/>
    <pc:docChg chg="undo redo custSel addSld delSld modSld sldOrd modSection">
      <pc:chgData name="Alexandre Zanetti de Almeida" userId="129d4ce6-e715-4d33-b4c4-312f1656225b" providerId="ADAL" clId="{588B9DB1-5659-4DE1-805E-57B0F19426CD}" dt="2025-07-04T13:04:12.512" v="3168" actId="6549"/>
      <pc:docMkLst>
        <pc:docMk/>
      </pc:docMkLst>
      <pc:sldChg chg="modSp mod">
        <pc:chgData name="Alexandre Zanetti de Almeida" userId="129d4ce6-e715-4d33-b4c4-312f1656225b" providerId="ADAL" clId="{588B9DB1-5659-4DE1-805E-57B0F19426CD}" dt="2025-07-04T13:01:11.666" v="3099" actId="6549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588B9DB1-5659-4DE1-805E-57B0F19426CD}" dt="2025-07-04T13:01:11.666" v="3099" actId="6549"/>
          <ac:spMkLst>
            <pc:docMk/>
            <pc:sldMk cId="3565198220" sldId="257"/>
            <ac:spMk id="14" creationId="{58A75E89-8A5E-9C4E-8913-431969C8D27C}"/>
          </ac:spMkLst>
        </pc:spChg>
      </pc:sldChg>
      <pc:sldChg chg="modSp mod">
        <pc:chgData name="Alexandre Zanetti de Almeida" userId="129d4ce6-e715-4d33-b4c4-312f1656225b" providerId="ADAL" clId="{588B9DB1-5659-4DE1-805E-57B0F19426CD}" dt="2025-07-03T18:54:57.306" v="3070" actId="20577"/>
        <pc:sldMkLst>
          <pc:docMk/>
          <pc:sldMk cId="2097707483" sldId="2147470235"/>
        </pc:sldMkLst>
        <pc:spChg chg="mod">
          <ac:chgData name="Alexandre Zanetti de Almeida" userId="129d4ce6-e715-4d33-b4c4-312f1656225b" providerId="ADAL" clId="{588B9DB1-5659-4DE1-805E-57B0F19426CD}" dt="2025-07-03T18:54:57.306" v="3070" actId="20577"/>
          <ac:spMkLst>
            <pc:docMk/>
            <pc:sldMk cId="2097707483" sldId="2147470235"/>
            <ac:spMk id="4" creationId="{892D3D94-15EB-DB7E-17CF-8CFE7001345A}"/>
          </ac:spMkLst>
        </pc:spChg>
      </pc:sldChg>
      <pc:sldChg chg="del">
        <pc:chgData name="Alexandre Zanetti de Almeida" userId="129d4ce6-e715-4d33-b4c4-312f1656225b" providerId="ADAL" clId="{588B9DB1-5659-4DE1-805E-57B0F19426CD}" dt="2025-06-30T15:01:57.948" v="2631" actId="47"/>
        <pc:sldMkLst>
          <pc:docMk/>
          <pc:sldMk cId="3206762266" sldId="2147470243"/>
        </pc:sldMkLst>
      </pc:sldChg>
      <pc:sldChg chg="del">
        <pc:chgData name="Alexandre Zanetti de Almeida" userId="129d4ce6-e715-4d33-b4c4-312f1656225b" providerId="ADAL" clId="{588B9DB1-5659-4DE1-805E-57B0F19426CD}" dt="2025-06-30T15:01:59.001" v="2633" actId="47"/>
        <pc:sldMkLst>
          <pc:docMk/>
          <pc:sldMk cId="3138549392" sldId="2147470247"/>
        </pc:sldMkLst>
      </pc:sldChg>
      <pc:sldChg chg="del">
        <pc:chgData name="Alexandre Zanetti de Almeida" userId="129d4ce6-e715-4d33-b4c4-312f1656225b" providerId="ADAL" clId="{588B9DB1-5659-4DE1-805E-57B0F19426CD}" dt="2025-06-30T15:01:58.403" v="2632" actId="47"/>
        <pc:sldMkLst>
          <pc:docMk/>
          <pc:sldMk cId="3461457585" sldId="2147470248"/>
        </pc:sldMkLst>
      </pc:sldChg>
      <pc:sldChg chg="add del">
        <pc:chgData name="Alexandre Zanetti de Almeida" userId="129d4ce6-e715-4d33-b4c4-312f1656225b" providerId="ADAL" clId="{588B9DB1-5659-4DE1-805E-57B0F19426CD}" dt="2025-06-30T15:02:13.827" v="2636" actId="47"/>
        <pc:sldMkLst>
          <pc:docMk/>
          <pc:sldMk cId="2733684968" sldId="2147470249"/>
        </pc:sldMkLst>
      </pc:sldChg>
      <pc:sldChg chg="del">
        <pc:chgData name="Alexandre Zanetti de Almeida" userId="129d4ce6-e715-4d33-b4c4-312f1656225b" providerId="ADAL" clId="{588B9DB1-5659-4DE1-805E-57B0F19426CD}" dt="2025-06-30T14:42:29.795" v="1878" actId="47"/>
        <pc:sldMkLst>
          <pc:docMk/>
          <pc:sldMk cId="2817282654" sldId="2147470250"/>
        </pc:sldMkLst>
      </pc:sldChg>
      <pc:sldChg chg="del">
        <pc:chgData name="Alexandre Zanetti de Almeida" userId="129d4ce6-e715-4d33-b4c4-312f1656225b" providerId="ADAL" clId="{588B9DB1-5659-4DE1-805E-57B0F19426CD}" dt="2025-06-30T14:42:29.795" v="1878" actId="47"/>
        <pc:sldMkLst>
          <pc:docMk/>
          <pc:sldMk cId="57506138" sldId="2147470251"/>
        </pc:sldMkLst>
      </pc:sldChg>
      <pc:sldChg chg="del">
        <pc:chgData name="Alexandre Zanetti de Almeida" userId="129d4ce6-e715-4d33-b4c4-312f1656225b" providerId="ADAL" clId="{588B9DB1-5659-4DE1-805E-57B0F19426CD}" dt="2025-06-30T14:42:29.795" v="1878" actId="47"/>
        <pc:sldMkLst>
          <pc:docMk/>
          <pc:sldMk cId="481838124" sldId="2147470252"/>
        </pc:sldMkLst>
      </pc:sldChg>
      <pc:sldChg chg="del">
        <pc:chgData name="Alexandre Zanetti de Almeida" userId="129d4ce6-e715-4d33-b4c4-312f1656225b" providerId="ADAL" clId="{588B9DB1-5659-4DE1-805E-57B0F19426CD}" dt="2025-06-30T14:42:29.795" v="1878" actId="47"/>
        <pc:sldMkLst>
          <pc:docMk/>
          <pc:sldMk cId="1173113283" sldId="2147470253"/>
        </pc:sldMkLst>
      </pc:sldChg>
      <pc:sldChg chg="del">
        <pc:chgData name="Alexandre Zanetti de Almeida" userId="129d4ce6-e715-4d33-b4c4-312f1656225b" providerId="ADAL" clId="{588B9DB1-5659-4DE1-805E-57B0F19426CD}" dt="2025-06-30T14:42:31.538" v="1879" actId="47"/>
        <pc:sldMkLst>
          <pc:docMk/>
          <pc:sldMk cId="20244889" sldId="2147470254"/>
        </pc:sldMkLst>
      </pc:sldChg>
      <pc:sldChg chg="del">
        <pc:chgData name="Alexandre Zanetti de Almeida" userId="129d4ce6-e715-4d33-b4c4-312f1656225b" providerId="ADAL" clId="{588B9DB1-5659-4DE1-805E-57B0F19426CD}" dt="2025-06-30T14:42:31.538" v="1879" actId="47"/>
        <pc:sldMkLst>
          <pc:docMk/>
          <pc:sldMk cId="420519257" sldId="2147470255"/>
        </pc:sldMkLst>
      </pc:sldChg>
      <pc:sldChg chg="addSp delSp modSp mod ord modShow">
        <pc:chgData name="Alexandre Zanetti de Almeida" userId="129d4ce6-e715-4d33-b4c4-312f1656225b" providerId="ADAL" clId="{588B9DB1-5659-4DE1-805E-57B0F19426CD}" dt="2025-07-04T10:44:23.634" v="3077" actId="729"/>
        <pc:sldMkLst>
          <pc:docMk/>
          <pc:sldMk cId="3197812713" sldId="2147470256"/>
        </pc:sldMkLst>
        <pc:spChg chg="mod">
          <ac:chgData name="Alexandre Zanetti de Almeida" userId="129d4ce6-e715-4d33-b4c4-312f1656225b" providerId="ADAL" clId="{588B9DB1-5659-4DE1-805E-57B0F19426CD}" dt="2025-06-30T14:50:23.985" v="2031" actId="20577"/>
          <ac:spMkLst>
            <pc:docMk/>
            <pc:sldMk cId="3197812713" sldId="2147470256"/>
            <ac:spMk id="22" creationId="{4B5A5295-13B5-5F76-58A7-1B7A8FE275C0}"/>
          </ac:spMkLst>
        </pc:spChg>
        <pc:spChg chg="add mod">
          <ac:chgData name="Alexandre Zanetti de Almeida" userId="129d4ce6-e715-4d33-b4c4-312f1656225b" providerId="ADAL" clId="{588B9DB1-5659-4DE1-805E-57B0F19426CD}" dt="2025-06-30T14:54:33.332" v="2268" actId="1076"/>
          <ac:spMkLst>
            <pc:docMk/>
            <pc:sldMk cId="3197812713" sldId="2147470256"/>
            <ac:spMk id="23" creationId="{33A8336F-B5C5-C4F9-A78C-F0354BBC511A}"/>
          </ac:spMkLst>
        </pc:spChg>
        <pc:spChg chg="mod">
          <ac:chgData name="Alexandre Zanetti de Almeida" userId="129d4ce6-e715-4d33-b4c4-312f1656225b" providerId="ADAL" clId="{588B9DB1-5659-4DE1-805E-57B0F19426CD}" dt="2025-06-30T14:52:14.087" v="2126" actId="20577"/>
          <ac:spMkLst>
            <pc:docMk/>
            <pc:sldMk cId="3197812713" sldId="2147470256"/>
            <ac:spMk id="24" creationId="{6AF2B280-9195-8646-2D76-AE846F459FBA}"/>
          </ac:spMkLst>
        </pc:spChg>
        <pc:spChg chg="mod">
          <ac:chgData name="Alexandre Zanetti de Almeida" userId="129d4ce6-e715-4d33-b4c4-312f1656225b" providerId="ADAL" clId="{588B9DB1-5659-4DE1-805E-57B0F19426CD}" dt="2025-06-30T14:48:14.444" v="1888"/>
          <ac:spMkLst>
            <pc:docMk/>
            <pc:sldMk cId="3197812713" sldId="2147470256"/>
            <ac:spMk id="26" creationId="{A7ADB682-8B5C-A757-1E58-6CE5B06CBAB1}"/>
          </ac:spMkLst>
        </pc:spChg>
        <pc:spChg chg="mod">
          <ac:chgData name="Alexandre Zanetti de Almeida" userId="129d4ce6-e715-4d33-b4c4-312f1656225b" providerId="ADAL" clId="{588B9DB1-5659-4DE1-805E-57B0F19426CD}" dt="2025-06-30T15:02:29.141" v="2638"/>
          <ac:spMkLst>
            <pc:docMk/>
            <pc:sldMk cId="3197812713" sldId="2147470256"/>
            <ac:spMk id="29" creationId="{BEFDA5D6-5719-BA13-7538-7E7B4700EA55}"/>
          </ac:spMkLst>
        </pc:spChg>
        <pc:spChg chg="mod">
          <ac:chgData name="Alexandre Zanetti de Almeida" userId="129d4ce6-e715-4d33-b4c4-312f1656225b" providerId="ADAL" clId="{588B9DB1-5659-4DE1-805E-57B0F19426CD}" dt="2025-06-30T15:07:14.777" v="2754"/>
          <ac:spMkLst>
            <pc:docMk/>
            <pc:sldMk cId="3197812713" sldId="2147470256"/>
            <ac:spMk id="30" creationId="{F1EB4022-083F-2999-1AD9-F69A14869E23}"/>
          </ac:spMkLst>
        </pc:spChg>
        <pc:spChg chg="mod">
          <ac:chgData name="Alexandre Zanetti de Almeida" userId="129d4ce6-e715-4d33-b4c4-312f1656225b" providerId="ADAL" clId="{588B9DB1-5659-4DE1-805E-57B0F19426CD}" dt="2025-06-30T15:07:16.491" v="2755"/>
          <ac:spMkLst>
            <pc:docMk/>
            <pc:sldMk cId="3197812713" sldId="2147470256"/>
            <ac:spMk id="31" creationId="{FA4506B7-E442-869C-F873-E644E24A954D}"/>
          </ac:spMkLst>
        </pc:spChg>
        <pc:spChg chg="mod">
          <ac:chgData name="Alexandre Zanetti de Almeida" userId="129d4ce6-e715-4d33-b4c4-312f1656225b" providerId="ADAL" clId="{588B9DB1-5659-4DE1-805E-57B0F19426CD}" dt="2025-06-30T14:48:14.444" v="1888"/>
          <ac:spMkLst>
            <pc:docMk/>
            <pc:sldMk cId="3197812713" sldId="2147470256"/>
            <ac:spMk id="35" creationId="{9FFE2CD0-57D2-F05C-97F5-B5494210627B}"/>
          </ac:spMkLst>
        </pc:spChg>
        <pc:spChg chg="mod">
          <ac:chgData name="Alexandre Zanetti de Almeida" userId="129d4ce6-e715-4d33-b4c4-312f1656225b" providerId="ADAL" clId="{588B9DB1-5659-4DE1-805E-57B0F19426CD}" dt="2025-06-30T15:07:18.645" v="2756"/>
          <ac:spMkLst>
            <pc:docMk/>
            <pc:sldMk cId="3197812713" sldId="2147470256"/>
            <ac:spMk id="36" creationId="{7F7E0266-8141-443B-858A-BE5FFB2939DB}"/>
          </ac:spMkLst>
        </pc:spChg>
        <pc:spChg chg="mod">
          <ac:chgData name="Alexandre Zanetti de Almeida" userId="129d4ce6-e715-4d33-b4c4-312f1656225b" providerId="ADAL" clId="{588B9DB1-5659-4DE1-805E-57B0F19426CD}" dt="2025-06-30T15:05:39.986" v="2708" actId="20577"/>
          <ac:spMkLst>
            <pc:docMk/>
            <pc:sldMk cId="3197812713" sldId="2147470256"/>
            <ac:spMk id="37" creationId="{8DE6D95A-65CC-2027-54F7-1B89AFE6ABF0}"/>
          </ac:spMkLst>
        </pc:spChg>
        <pc:spChg chg="mod">
          <ac:chgData name="Alexandre Zanetti de Almeida" userId="129d4ce6-e715-4d33-b4c4-312f1656225b" providerId="ADAL" clId="{588B9DB1-5659-4DE1-805E-57B0F19426CD}" dt="2025-06-30T15:11:52.402" v="2865" actId="6549"/>
          <ac:spMkLst>
            <pc:docMk/>
            <pc:sldMk cId="3197812713" sldId="2147470256"/>
            <ac:spMk id="38" creationId="{DE50D678-088E-471C-B114-0E1FF1F26E27}"/>
          </ac:spMkLst>
        </pc:spChg>
        <pc:spChg chg="mod">
          <ac:chgData name="Alexandre Zanetti de Almeida" userId="129d4ce6-e715-4d33-b4c4-312f1656225b" providerId="ADAL" clId="{588B9DB1-5659-4DE1-805E-57B0F19426CD}" dt="2025-06-30T14:48:14.444" v="1888"/>
          <ac:spMkLst>
            <pc:docMk/>
            <pc:sldMk cId="3197812713" sldId="2147470256"/>
            <ac:spMk id="41" creationId="{CD2EEF20-0646-D0D4-67EB-BA011E609697}"/>
          </ac:spMkLst>
        </pc:spChg>
        <pc:spChg chg="mod">
          <ac:chgData name="Alexandre Zanetti de Almeida" userId="129d4ce6-e715-4d33-b4c4-312f1656225b" providerId="ADAL" clId="{588B9DB1-5659-4DE1-805E-57B0F19426CD}" dt="2025-06-30T14:48:14.444" v="1888"/>
          <ac:spMkLst>
            <pc:docMk/>
            <pc:sldMk cId="3197812713" sldId="2147470256"/>
            <ac:spMk id="42" creationId="{FF2A720A-DC55-9602-C633-23ABEB2ADF11}"/>
          </ac:spMkLst>
        </pc:spChg>
        <pc:spChg chg="mod">
          <ac:chgData name="Alexandre Zanetti de Almeida" userId="129d4ce6-e715-4d33-b4c4-312f1656225b" providerId="ADAL" clId="{588B9DB1-5659-4DE1-805E-57B0F19426CD}" dt="2025-06-30T14:48:14.444" v="1888"/>
          <ac:spMkLst>
            <pc:docMk/>
            <pc:sldMk cId="3197812713" sldId="2147470256"/>
            <ac:spMk id="47" creationId="{38D99D30-1FC8-6CC0-E0FD-75DB76057011}"/>
          </ac:spMkLst>
        </pc:spChg>
        <pc:spChg chg="mod">
          <ac:chgData name="Alexandre Zanetti de Almeida" userId="129d4ce6-e715-4d33-b4c4-312f1656225b" providerId="ADAL" clId="{588B9DB1-5659-4DE1-805E-57B0F19426CD}" dt="2025-06-30T14:48:14.444" v="1888"/>
          <ac:spMkLst>
            <pc:docMk/>
            <pc:sldMk cId="3197812713" sldId="2147470256"/>
            <ac:spMk id="60" creationId="{B5784029-B01D-3A39-2C65-ADD26AD09288}"/>
          </ac:spMkLst>
        </pc:spChg>
      </pc:sldChg>
      <pc:sldChg chg="addSp delSp modSp add del mod">
        <pc:chgData name="Alexandre Zanetti de Almeida" userId="129d4ce6-e715-4d33-b4c4-312f1656225b" providerId="ADAL" clId="{588B9DB1-5659-4DE1-805E-57B0F19426CD}" dt="2025-06-26T13:31:50.057" v="1807" actId="47"/>
        <pc:sldMkLst>
          <pc:docMk/>
          <pc:sldMk cId="1034806602" sldId="2147470258"/>
        </pc:sldMkLst>
      </pc:sldChg>
      <pc:sldChg chg="addSp delSp modSp add mod">
        <pc:chgData name="Alexandre Zanetti de Almeida" userId="129d4ce6-e715-4d33-b4c4-312f1656225b" providerId="ADAL" clId="{588B9DB1-5659-4DE1-805E-57B0F19426CD}" dt="2025-07-03T18:29:33.560" v="2953" actId="20577"/>
        <pc:sldMkLst>
          <pc:docMk/>
          <pc:sldMk cId="577182788" sldId="2147470259"/>
        </pc:sldMkLst>
        <pc:spChg chg="mod">
          <ac:chgData name="Alexandre Zanetti de Almeida" userId="129d4ce6-e715-4d33-b4c4-312f1656225b" providerId="ADAL" clId="{588B9DB1-5659-4DE1-805E-57B0F19426CD}" dt="2025-06-26T13:31:42.517" v="1805" actId="1036"/>
          <ac:spMkLst>
            <pc:docMk/>
            <pc:sldMk cId="577182788" sldId="2147470259"/>
            <ac:spMk id="19" creationId="{5942D5F7-0137-2B66-9E01-F35C358FA2B3}"/>
          </ac:spMkLst>
        </pc:spChg>
        <pc:spChg chg="mod">
          <ac:chgData name="Alexandre Zanetti de Almeida" userId="129d4ce6-e715-4d33-b4c4-312f1656225b" providerId="ADAL" clId="{588B9DB1-5659-4DE1-805E-57B0F19426CD}" dt="2025-06-26T13:31:12.537" v="1762" actId="207"/>
          <ac:spMkLst>
            <pc:docMk/>
            <pc:sldMk cId="577182788" sldId="2147470259"/>
            <ac:spMk id="22" creationId="{00580DE3-29C4-C761-679F-91FAD671FC1C}"/>
          </ac:spMkLst>
        </pc:spChg>
        <pc:spChg chg="mod">
          <ac:chgData name="Alexandre Zanetti de Almeida" userId="129d4ce6-e715-4d33-b4c4-312f1656225b" providerId="ADAL" clId="{588B9DB1-5659-4DE1-805E-57B0F19426CD}" dt="2025-06-26T13:31:12.537" v="1762" actId="207"/>
          <ac:spMkLst>
            <pc:docMk/>
            <pc:sldMk cId="577182788" sldId="2147470259"/>
            <ac:spMk id="31" creationId="{60CB1BCC-3298-640E-C734-00CE1EE880D6}"/>
          </ac:spMkLst>
        </pc:spChg>
        <pc:spChg chg="add mod">
          <ac:chgData name="Alexandre Zanetti de Almeida" userId="129d4ce6-e715-4d33-b4c4-312f1656225b" providerId="ADAL" clId="{588B9DB1-5659-4DE1-805E-57B0F19426CD}" dt="2025-06-26T13:30:30.042" v="1737" actId="571"/>
          <ac:spMkLst>
            <pc:docMk/>
            <pc:sldMk cId="577182788" sldId="2147470259"/>
            <ac:spMk id="32" creationId="{2D73B495-1CBB-98B4-2986-938721B60E6F}"/>
          </ac:spMkLst>
        </pc:spChg>
        <pc:spChg chg="add mod">
          <ac:chgData name="Alexandre Zanetti de Almeida" userId="129d4ce6-e715-4d33-b4c4-312f1656225b" providerId="ADAL" clId="{588B9DB1-5659-4DE1-805E-57B0F19426CD}" dt="2025-06-26T13:30:50.187" v="1744" actId="571"/>
          <ac:spMkLst>
            <pc:docMk/>
            <pc:sldMk cId="577182788" sldId="2147470259"/>
            <ac:spMk id="42" creationId="{9896B024-B160-DFAE-6EFA-58A555FF721B}"/>
          </ac:spMkLst>
        </pc:spChg>
        <pc:spChg chg="add mod">
          <ac:chgData name="Alexandre Zanetti de Almeida" userId="129d4ce6-e715-4d33-b4c4-312f1656225b" providerId="ADAL" clId="{588B9DB1-5659-4DE1-805E-57B0F19426CD}" dt="2025-06-26T13:30:50.187" v="1744" actId="571"/>
          <ac:spMkLst>
            <pc:docMk/>
            <pc:sldMk cId="577182788" sldId="2147470259"/>
            <ac:spMk id="43" creationId="{F16D3482-6B83-25F2-6AD9-1EF097D90120}"/>
          </ac:spMkLst>
        </pc:spChg>
        <pc:spChg chg="add mod">
          <ac:chgData name="Alexandre Zanetti de Almeida" userId="129d4ce6-e715-4d33-b4c4-312f1656225b" providerId="ADAL" clId="{588B9DB1-5659-4DE1-805E-57B0F19426CD}" dt="2025-06-26T13:30:50.187" v="1744" actId="571"/>
          <ac:spMkLst>
            <pc:docMk/>
            <pc:sldMk cId="577182788" sldId="2147470259"/>
            <ac:spMk id="44" creationId="{3C626609-B35A-89FA-766A-BD9E6E80E551}"/>
          </ac:spMkLst>
        </pc:spChg>
        <pc:spChg chg="mod">
          <ac:chgData name="Alexandre Zanetti de Almeida" userId="129d4ce6-e715-4d33-b4c4-312f1656225b" providerId="ADAL" clId="{588B9DB1-5659-4DE1-805E-57B0F19426CD}" dt="2025-06-26T13:31:12.537" v="1762" actId="207"/>
          <ac:spMkLst>
            <pc:docMk/>
            <pc:sldMk cId="577182788" sldId="2147470259"/>
            <ac:spMk id="55" creationId="{64EF94B1-FA67-BAC2-0CD9-973C43B60601}"/>
          </ac:spMkLst>
        </pc:spChg>
        <pc:spChg chg="mod">
          <ac:chgData name="Alexandre Zanetti de Almeida" userId="129d4ce6-e715-4d33-b4c4-312f1656225b" providerId="ADAL" clId="{588B9DB1-5659-4DE1-805E-57B0F19426CD}" dt="2025-06-26T13:31:12.537" v="1762" actId="207"/>
          <ac:spMkLst>
            <pc:docMk/>
            <pc:sldMk cId="577182788" sldId="2147470259"/>
            <ac:spMk id="61" creationId="{39196541-426B-E677-E3E5-E20AA8CB95A1}"/>
          </ac:spMkLst>
        </pc:spChg>
        <pc:spChg chg="mod">
          <ac:chgData name="Alexandre Zanetti de Almeida" userId="129d4ce6-e715-4d33-b4c4-312f1656225b" providerId="ADAL" clId="{588B9DB1-5659-4DE1-805E-57B0F19426CD}" dt="2025-06-26T13:31:42.517" v="1805" actId="1036"/>
          <ac:spMkLst>
            <pc:docMk/>
            <pc:sldMk cId="577182788" sldId="2147470259"/>
            <ac:spMk id="75" creationId="{94852262-370D-1FD6-AE6B-D9B52F6EB189}"/>
          </ac:spMkLst>
        </pc:spChg>
        <pc:spChg chg="mod">
          <ac:chgData name="Alexandre Zanetti de Almeida" userId="129d4ce6-e715-4d33-b4c4-312f1656225b" providerId="ADAL" clId="{588B9DB1-5659-4DE1-805E-57B0F19426CD}" dt="2025-06-26T13:30:24.434" v="1736" actId="14100"/>
          <ac:spMkLst>
            <pc:docMk/>
            <pc:sldMk cId="577182788" sldId="2147470259"/>
            <ac:spMk id="87" creationId="{47C16F0B-9C41-D1D7-F838-DAA4958C6C27}"/>
          </ac:spMkLst>
        </pc:spChg>
        <pc:spChg chg="mod">
          <ac:chgData name="Alexandre Zanetti de Almeida" userId="129d4ce6-e715-4d33-b4c4-312f1656225b" providerId="ADAL" clId="{588B9DB1-5659-4DE1-805E-57B0F19426CD}" dt="2025-06-26T13:31:48.316" v="1806" actId="1076"/>
          <ac:spMkLst>
            <pc:docMk/>
            <pc:sldMk cId="577182788" sldId="2147470259"/>
            <ac:spMk id="91" creationId="{F9C777A7-C169-24AA-1C12-D2E86FED2D42}"/>
          </ac:spMkLst>
        </pc:spChg>
        <pc:spChg chg="mod">
          <ac:chgData name="Alexandre Zanetti de Almeida" userId="129d4ce6-e715-4d33-b4c4-312f1656225b" providerId="ADAL" clId="{588B9DB1-5659-4DE1-805E-57B0F19426CD}" dt="2025-06-26T13:31:12.537" v="1762" actId="207"/>
          <ac:spMkLst>
            <pc:docMk/>
            <pc:sldMk cId="577182788" sldId="2147470259"/>
            <ac:spMk id="98" creationId="{1C0057C7-F2FB-07B0-E9A5-7B00F8130AAE}"/>
          </ac:spMkLst>
        </pc:spChg>
        <pc:spChg chg="mod">
          <ac:chgData name="Alexandre Zanetti de Almeida" userId="129d4ce6-e715-4d33-b4c4-312f1656225b" providerId="ADAL" clId="{588B9DB1-5659-4DE1-805E-57B0F19426CD}" dt="2025-06-26T13:31:42.517" v="1805" actId="1036"/>
          <ac:spMkLst>
            <pc:docMk/>
            <pc:sldMk cId="577182788" sldId="2147470259"/>
            <ac:spMk id="100" creationId="{2ED312FC-8FFA-4B27-51E0-6FEBD76AF24F}"/>
          </ac:spMkLst>
        </pc:spChg>
        <pc:spChg chg="mod">
          <ac:chgData name="Alexandre Zanetti de Almeida" userId="129d4ce6-e715-4d33-b4c4-312f1656225b" providerId="ADAL" clId="{588B9DB1-5659-4DE1-805E-57B0F19426CD}" dt="2025-06-26T13:28:19.307" v="1691" actId="1036"/>
          <ac:spMkLst>
            <pc:docMk/>
            <pc:sldMk cId="577182788" sldId="2147470259"/>
            <ac:spMk id="110" creationId="{4034B72B-9529-E982-1D02-3CFD5A6DCCF3}"/>
          </ac:spMkLst>
        </pc:spChg>
        <pc:spChg chg="mod">
          <ac:chgData name="Alexandre Zanetti de Almeida" userId="129d4ce6-e715-4d33-b4c4-312f1656225b" providerId="ADAL" clId="{588B9DB1-5659-4DE1-805E-57B0F19426CD}" dt="2025-06-26T13:31:42.517" v="1805" actId="1036"/>
          <ac:spMkLst>
            <pc:docMk/>
            <pc:sldMk cId="577182788" sldId="2147470259"/>
            <ac:spMk id="112" creationId="{AABF6A47-A341-6CC1-BD9D-D48FDBCF3546}"/>
          </ac:spMkLst>
        </pc:spChg>
        <pc:spChg chg="mod">
          <ac:chgData name="Alexandre Zanetti de Almeida" userId="129d4ce6-e715-4d33-b4c4-312f1656225b" providerId="ADAL" clId="{588B9DB1-5659-4DE1-805E-57B0F19426CD}" dt="2025-06-26T13:28:19.307" v="1691" actId="1036"/>
          <ac:spMkLst>
            <pc:docMk/>
            <pc:sldMk cId="577182788" sldId="2147470259"/>
            <ac:spMk id="114" creationId="{855149D6-225F-07E1-5999-9E71DDD537DC}"/>
          </ac:spMkLst>
        </pc:spChg>
        <pc:spChg chg="mod">
          <ac:chgData name="Alexandre Zanetti de Almeida" userId="129d4ce6-e715-4d33-b4c4-312f1656225b" providerId="ADAL" clId="{588B9DB1-5659-4DE1-805E-57B0F19426CD}" dt="2025-07-03T18:17:33.708" v="2903" actId="20577"/>
          <ac:spMkLst>
            <pc:docMk/>
            <pc:sldMk cId="577182788" sldId="2147470259"/>
            <ac:spMk id="116" creationId="{64F60FB2-DD88-005E-A318-D1888765B8B0}"/>
          </ac:spMkLst>
        </pc:spChg>
        <pc:spChg chg="mod">
          <ac:chgData name="Alexandre Zanetti de Almeida" userId="129d4ce6-e715-4d33-b4c4-312f1656225b" providerId="ADAL" clId="{588B9DB1-5659-4DE1-805E-57B0F19426CD}" dt="2025-06-26T13:28:19.307" v="1691" actId="1036"/>
          <ac:spMkLst>
            <pc:docMk/>
            <pc:sldMk cId="577182788" sldId="2147470259"/>
            <ac:spMk id="117" creationId="{AE9F617A-4F5E-F068-55C9-990F0798A194}"/>
          </ac:spMkLst>
        </pc:spChg>
        <pc:spChg chg="mod">
          <ac:chgData name="Alexandre Zanetti de Almeida" userId="129d4ce6-e715-4d33-b4c4-312f1656225b" providerId="ADAL" clId="{588B9DB1-5659-4DE1-805E-57B0F19426CD}" dt="2025-07-03T18:29:33.560" v="2953" actId="20577"/>
          <ac:spMkLst>
            <pc:docMk/>
            <pc:sldMk cId="577182788" sldId="2147470259"/>
            <ac:spMk id="119" creationId="{326182A3-727B-C7BB-9046-BB3A8E720723}"/>
          </ac:spMkLst>
        </pc:spChg>
        <pc:spChg chg="mod">
          <ac:chgData name="Alexandre Zanetti de Almeida" userId="129d4ce6-e715-4d33-b4c4-312f1656225b" providerId="ADAL" clId="{588B9DB1-5659-4DE1-805E-57B0F19426CD}" dt="2025-06-26T13:31:42.517" v="1805" actId="1036"/>
          <ac:spMkLst>
            <pc:docMk/>
            <pc:sldMk cId="577182788" sldId="2147470259"/>
            <ac:spMk id="121" creationId="{D0B2D417-C6F6-8A0A-55DB-D3FC7F42D680}"/>
          </ac:spMkLst>
        </pc:spChg>
        <pc:spChg chg="mod">
          <ac:chgData name="Alexandre Zanetti de Almeida" userId="129d4ce6-e715-4d33-b4c4-312f1656225b" providerId="ADAL" clId="{588B9DB1-5659-4DE1-805E-57B0F19426CD}" dt="2025-06-26T13:31:12.537" v="1762" actId="207"/>
          <ac:spMkLst>
            <pc:docMk/>
            <pc:sldMk cId="577182788" sldId="2147470259"/>
            <ac:spMk id="122" creationId="{C21614B8-FF18-9EEA-E55A-07DD5F0B83F5}"/>
          </ac:spMkLst>
        </pc:spChg>
        <pc:spChg chg="mod">
          <ac:chgData name="Alexandre Zanetti de Almeida" userId="129d4ce6-e715-4d33-b4c4-312f1656225b" providerId="ADAL" clId="{588B9DB1-5659-4DE1-805E-57B0F19426CD}" dt="2025-06-26T15:17:23.987" v="1868" actId="20577"/>
          <ac:spMkLst>
            <pc:docMk/>
            <pc:sldMk cId="577182788" sldId="2147470259"/>
            <ac:spMk id="125" creationId="{1CCCD29E-3C88-53F9-1AA7-382C79D009A5}"/>
          </ac:spMkLst>
        </pc:spChg>
        <pc:spChg chg="mod">
          <ac:chgData name="Alexandre Zanetti de Almeida" userId="129d4ce6-e715-4d33-b4c4-312f1656225b" providerId="ADAL" clId="{588B9DB1-5659-4DE1-805E-57B0F19426CD}" dt="2025-06-26T13:31:42.517" v="1805" actId="1036"/>
          <ac:spMkLst>
            <pc:docMk/>
            <pc:sldMk cId="577182788" sldId="2147470259"/>
            <ac:spMk id="142" creationId="{C3527BD3-FDDA-B988-C95B-82035F3542C3}"/>
          </ac:spMkLst>
        </pc:spChg>
        <pc:spChg chg="mod">
          <ac:chgData name="Alexandre Zanetti de Almeida" userId="129d4ce6-e715-4d33-b4c4-312f1656225b" providerId="ADAL" clId="{588B9DB1-5659-4DE1-805E-57B0F19426CD}" dt="2025-06-26T13:31:12.537" v="1762" actId="207"/>
          <ac:spMkLst>
            <pc:docMk/>
            <pc:sldMk cId="577182788" sldId="2147470259"/>
            <ac:spMk id="156" creationId="{5D2F969D-A546-A094-DB9A-FF23A4C62084}"/>
          </ac:spMkLst>
        </pc:spChg>
        <pc:spChg chg="mod">
          <ac:chgData name="Alexandre Zanetti de Almeida" userId="129d4ce6-e715-4d33-b4c4-312f1656225b" providerId="ADAL" clId="{588B9DB1-5659-4DE1-805E-57B0F19426CD}" dt="2025-06-26T13:31:42.517" v="1805" actId="1036"/>
          <ac:spMkLst>
            <pc:docMk/>
            <pc:sldMk cId="577182788" sldId="2147470259"/>
            <ac:spMk id="173" creationId="{D0751C6D-1009-271C-91A6-A9B5502AA77F}"/>
          </ac:spMkLst>
        </pc:spChg>
        <pc:spChg chg="mod">
          <ac:chgData name="Alexandre Zanetti de Almeida" userId="129d4ce6-e715-4d33-b4c4-312f1656225b" providerId="ADAL" clId="{588B9DB1-5659-4DE1-805E-57B0F19426CD}" dt="2025-06-30T12:53:06.182" v="1876" actId="20577"/>
          <ac:spMkLst>
            <pc:docMk/>
            <pc:sldMk cId="577182788" sldId="2147470259"/>
            <ac:spMk id="189" creationId="{263A707A-22CF-742E-241C-6C68915340A0}"/>
          </ac:spMkLst>
        </pc:spChg>
        <pc:spChg chg="mod">
          <ac:chgData name="Alexandre Zanetti de Almeida" userId="129d4ce6-e715-4d33-b4c4-312f1656225b" providerId="ADAL" clId="{588B9DB1-5659-4DE1-805E-57B0F19426CD}" dt="2025-06-26T13:28:19.307" v="1691" actId="1036"/>
          <ac:spMkLst>
            <pc:docMk/>
            <pc:sldMk cId="577182788" sldId="2147470259"/>
            <ac:spMk id="190" creationId="{22DD5DFD-F8AB-BFDF-A21D-49A6D97CA00A}"/>
          </ac:spMkLst>
        </pc:spChg>
        <pc:spChg chg="mod">
          <ac:chgData name="Alexandre Zanetti de Almeida" userId="129d4ce6-e715-4d33-b4c4-312f1656225b" providerId="ADAL" clId="{588B9DB1-5659-4DE1-805E-57B0F19426CD}" dt="2025-06-26T13:31:42.517" v="1805" actId="1036"/>
          <ac:spMkLst>
            <pc:docMk/>
            <pc:sldMk cId="577182788" sldId="2147470259"/>
            <ac:spMk id="191" creationId="{06EA4D10-515A-0EF0-381E-D8C215D311F4}"/>
          </ac:spMkLst>
        </pc:spChg>
        <pc:spChg chg="mod">
          <ac:chgData name="Alexandre Zanetti de Almeida" userId="129d4ce6-e715-4d33-b4c4-312f1656225b" providerId="ADAL" clId="{588B9DB1-5659-4DE1-805E-57B0F19426CD}" dt="2025-06-26T13:31:12.537" v="1762" actId="207"/>
          <ac:spMkLst>
            <pc:docMk/>
            <pc:sldMk cId="577182788" sldId="2147470259"/>
            <ac:spMk id="193" creationId="{37BAB4BD-B02A-E23D-5885-1365248AF1D5}"/>
          </ac:spMkLst>
        </pc:spChg>
        <pc:spChg chg="mod">
          <ac:chgData name="Alexandre Zanetti de Almeida" userId="129d4ce6-e715-4d33-b4c4-312f1656225b" providerId="ADAL" clId="{588B9DB1-5659-4DE1-805E-57B0F19426CD}" dt="2025-06-26T13:31:42.517" v="1805" actId="1036"/>
          <ac:spMkLst>
            <pc:docMk/>
            <pc:sldMk cId="577182788" sldId="2147470259"/>
            <ac:spMk id="194" creationId="{20F93375-7DBB-6DF4-A87D-D8846F7C9C40}"/>
          </ac:spMkLst>
        </pc:spChg>
        <pc:spChg chg="mod">
          <ac:chgData name="Alexandre Zanetti de Almeida" userId="129d4ce6-e715-4d33-b4c4-312f1656225b" providerId="ADAL" clId="{588B9DB1-5659-4DE1-805E-57B0F19426CD}" dt="2025-06-26T13:29:51.324" v="1728" actId="1076"/>
          <ac:spMkLst>
            <pc:docMk/>
            <pc:sldMk cId="577182788" sldId="2147470259"/>
            <ac:spMk id="195" creationId="{7E178418-32D8-651D-09DD-C763A4CAC6A7}"/>
          </ac:spMkLst>
        </pc:spChg>
        <pc:spChg chg="mod">
          <ac:chgData name="Alexandre Zanetti de Almeida" userId="129d4ce6-e715-4d33-b4c4-312f1656225b" providerId="ADAL" clId="{588B9DB1-5659-4DE1-805E-57B0F19426CD}" dt="2025-06-26T13:31:42.517" v="1805" actId="1036"/>
          <ac:spMkLst>
            <pc:docMk/>
            <pc:sldMk cId="577182788" sldId="2147470259"/>
            <ac:spMk id="199" creationId="{4F182442-E5C2-8E95-F2BF-A7D98078207A}"/>
          </ac:spMkLst>
        </pc:spChg>
        <pc:cxnChg chg="add mod">
          <ac:chgData name="Alexandre Zanetti de Almeida" userId="129d4ce6-e715-4d33-b4c4-312f1656225b" providerId="ADAL" clId="{588B9DB1-5659-4DE1-805E-57B0F19426CD}" dt="2025-06-26T13:31:22.494" v="1763" actId="1076"/>
          <ac:cxnSpMkLst>
            <pc:docMk/>
            <pc:sldMk cId="577182788" sldId="2147470259"/>
            <ac:cxnSpMk id="18" creationId="{D4ABB351-9138-F20D-6749-515CB7CBF7A6}"/>
          </ac:cxnSpMkLst>
        </pc:cxnChg>
        <pc:cxnChg chg="mod">
          <ac:chgData name="Alexandre Zanetti de Almeida" userId="129d4ce6-e715-4d33-b4c4-312f1656225b" providerId="ADAL" clId="{588B9DB1-5659-4DE1-805E-57B0F19426CD}" dt="2025-06-26T13:31:22.494" v="1763" actId="1076"/>
          <ac:cxnSpMkLst>
            <pc:docMk/>
            <pc:sldMk cId="577182788" sldId="2147470259"/>
            <ac:cxnSpMk id="88" creationId="{17A15290-8688-7169-951E-4FCAA46962D3}"/>
          </ac:cxnSpMkLst>
        </pc:cxnChg>
        <pc:cxnChg chg="mod">
          <ac:chgData name="Alexandre Zanetti de Almeida" userId="129d4ce6-e715-4d33-b4c4-312f1656225b" providerId="ADAL" clId="{588B9DB1-5659-4DE1-805E-57B0F19426CD}" dt="2025-06-26T13:31:22.494" v="1763" actId="1076"/>
          <ac:cxnSpMkLst>
            <pc:docMk/>
            <pc:sldMk cId="577182788" sldId="2147470259"/>
            <ac:cxnSpMk id="92" creationId="{1DE76736-C0BF-E4B3-9EAF-3EFE201749D4}"/>
          </ac:cxnSpMkLst>
        </pc:cxnChg>
        <pc:cxnChg chg="mod">
          <ac:chgData name="Alexandre Zanetti de Almeida" userId="129d4ce6-e715-4d33-b4c4-312f1656225b" providerId="ADAL" clId="{588B9DB1-5659-4DE1-805E-57B0F19426CD}" dt="2025-06-26T13:31:22.494" v="1763" actId="1076"/>
          <ac:cxnSpMkLst>
            <pc:docMk/>
            <pc:sldMk cId="577182788" sldId="2147470259"/>
            <ac:cxnSpMk id="95" creationId="{8E3B7BEC-D2D3-8A8F-B058-557051867339}"/>
          </ac:cxnSpMkLst>
        </pc:cxnChg>
        <pc:cxnChg chg="add del mod">
          <ac:chgData name="Alexandre Zanetti de Almeida" userId="129d4ce6-e715-4d33-b4c4-312f1656225b" providerId="ADAL" clId="{588B9DB1-5659-4DE1-805E-57B0F19426CD}" dt="2025-06-26T13:31:35.101" v="1765" actId="1076"/>
          <ac:cxnSpMkLst>
            <pc:docMk/>
            <pc:sldMk cId="577182788" sldId="2147470259"/>
            <ac:cxnSpMk id="126" creationId="{F72ADF4D-C8D2-0E23-356C-948ECB95A497}"/>
          </ac:cxnSpMkLst>
        </pc:cxnChg>
        <pc:cxnChg chg="add del mod">
          <ac:chgData name="Alexandre Zanetti de Almeida" userId="129d4ce6-e715-4d33-b4c4-312f1656225b" providerId="ADAL" clId="{588B9DB1-5659-4DE1-805E-57B0F19426CD}" dt="2025-06-26T13:31:22.494" v="1763" actId="1076"/>
          <ac:cxnSpMkLst>
            <pc:docMk/>
            <pc:sldMk cId="577182788" sldId="2147470259"/>
            <ac:cxnSpMk id="143" creationId="{D6D82E50-5685-E757-4CE6-EFCD7FE3BD09}"/>
          </ac:cxnSpMkLst>
        </pc:cxnChg>
        <pc:cxnChg chg="add del mod">
          <ac:chgData name="Alexandre Zanetti de Almeida" userId="129d4ce6-e715-4d33-b4c4-312f1656225b" providerId="ADAL" clId="{588B9DB1-5659-4DE1-805E-57B0F19426CD}" dt="2025-06-26T13:31:22.494" v="1763" actId="1076"/>
          <ac:cxnSpMkLst>
            <pc:docMk/>
            <pc:sldMk cId="577182788" sldId="2147470259"/>
            <ac:cxnSpMk id="159" creationId="{3908018D-CBD9-0E26-A9D3-C169C2FEC982}"/>
          </ac:cxnSpMkLst>
        </pc:cxnChg>
        <pc:cxnChg chg="add del mod">
          <ac:chgData name="Alexandre Zanetti de Almeida" userId="129d4ce6-e715-4d33-b4c4-312f1656225b" providerId="ADAL" clId="{588B9DB1-5659-4DE1-805E-57B0F19426CD}" dt="2025-06-26T13:31:35.101" v="1765" actId="1076"/>
          <ac:cxnSpMkLst>
            <pc:docMk/>
            <pc:sldMk cId="577182788" sldId="2147470259"/>
            <ac:cxnSpMk id="165" creationId="{BBC2D600-A729-FCDE-7DF6-DDEEF2E29D52}"/>
          </ac:cxnSpMkLst>
        </pc:cxnChg>
        <pc:cxnChg chg="add del mod">
          <ac:chgData name="Alexandre Zanetti de Almeida" userId="129d4ce6-e715-4d33-b4c4-312f1656225b" providerId="ADAL" clId="{588B9DB1-5659-4DE1-805E-57B0F19426CD}" dt="2025-06-26T13:31:35.101" v="1765" actId="1076"/>
          <ac:cxnSpMkLst>
            <pc:docMk/>
            <pc:sldMk cId="577182788" sldId="2147470259"/>
            <ac:cxnSpMk id="175" creationId="{15CB7E86-AF4E-C64F-CDB5-02EA605C13DE}"/>
          </ac:cxnSpMkLst>
        </pc:cxnChg>
      </pc:sldChg>
      <pc:sldChg chg="modSp add del mod">
        <pc:chgData name="Alexandre Zanetti de Almeida" userId="129d4ce6-e715-4d33-b4c4-312f1656225b" providerId="ADAL" clId="{588B9DB1-5659-4DE1-805E-57B0F19426CD}" dt="2025-06-30T15:02:14.580" v="2637" actId="47"/>
        <pc:sldMkLst>
          <pc:docMk/>
          <pc:sldMk cId="3041799647" sldId="2147470260"/>
        </pc:sldMkLst>
      </pc:sldChg>
      <pc:sldChg chg="add del">
        <pc:chgData name="Alexandre Zanetti de Almeida" userId="129d4ce6-e715-4d33-b4c4-312f1656225b" providerId="ADAL" clId="{588B9DB1-5659-4DE1-805E-57B0F19426CD}" dt="2025-06-30T14:53:14.074" v="2185" actId="47"/>
        <pc:sldMkLst>
          <pc:docMk/>
          <pc:sldMk cId="1962409263" sldId="2147470261"/>
        </pc:sldMkLst>
      </pc:sldChg>
      <pc:sldChg chg="add del">
        <pc:chgData name="Alexandre Zanetti de Almeida" userId="129d4ce6-e715-4d33-b4c4-312f1656225b" providerId="ADAL" clId="{588B9DB1-5659-4DE1-805E-57B0F19426CD}" dt="2025-06-30T14:53:08.884" v="2184" actId="47"/>
        <pc:sldMkLst>
          <pc:docMk/>
          <pc:sldMk cId="2960765666" sldId="2147470262"/>
        </pc:sldMkLst>
      </pc:sldChg>
      <pc:sldChg chg="addSp delSp modSp add mod modShow">
        <pc:chgData name="Alexandre Zanetti de Almeida" userId="129d4ce6-e715-4d33-b4c4-312f1656225b" providerId="ADAL" clId="{588B9DB1-5659-4DE1-805E-57B0F19426CD}" dt="2025-07-04T10:44:23.634" v="3077" actId="729"/>
        <pc:sldMkLst>
          <pc:docMk/>
          <pc:sldMk cId="1243885578" sldId="2147470263"/>
        </pc:sldMkLst>
        <pc:spChg chg="mod">
          <ac:chgData name="Alexandre Zanetti de Almeida" userId="129d4ce6-e715-4d33-b4c4-312f1656225b" providerId="ADAL" clId="{588B9DB1-5659-4DE1-805E-57B0F19426CD}" dt="2025-06-30T14:51:31.239" v="2060" actId="13926"/>
          <ac:spMkLst>
            <pc:docMk/>
            <pc:sldMk cId="1243885578" sldId="2147470263"/>
            <ac:spMk id="24" creationId="{0B475616-F36D-4D5F-0EAF-28E5FF406AC8}"/>
          </ac:spMkLst>
        </pc:spChg>
        <pc:spChg chg="mod">
          <ac:chgData name="Alexandre Zanetti de Almeida" userId="129d4ce6-e715-4d33-b4c4-312f1656225b" providerId="ADAL" clId="{588B9DB1-5659-4DE1-805E-57B0F19426CD}" dt="2025-06-30T15:02:40.411" v="2642"/>
          <ac:spMkLst>
            <pc:docMk/>
            <pc:sldMk cId="1243885578" sldId="2147470263"/>
            <ac:spMk id="80" creationId="{BC4FD8A6-9869-CBF5-56F2-38372AB309F8}"/>
          </ac:spMkLst>
        </pc:spChg>
        <pc:spChg chg="mod">
          <ac:chgData name="Alexandre Zanetti de Almeida" userId="129d4ce6-e715-4d33-b4c4-312f1656225b" providerId="ADAL" clId="{588B9DB1-5659-4DE1-805E-57B0F19426CD}" dt="2025-06-30T15:06:54.209" v="2750" actId="20577"/>
          <ac:spMkLst>
            <pc:docMk/>
            <pc:sldMk cId="1243885578" sldId="2147470263"/>
            <ac:spMk id="81" creationId="{C80BA4F0-C6ED-9698-60CB-FA52053407B5}"/>
          </ac:spMkLst>
        </pc:spChg>
        <pc:spChg chg="mod">
          <ac:chgData name="Alexandre Zanetti de Almeida" userId="129d4ce6-e715-4d33-b4c4-312f1656225b" providerId="ADAL" clId="{588B9DB1-5659-4DE1-805E-57B0F19426CD}" dt="2025-06-30T15:06:59.256" v="2751"/>
          <ac:spMkLst>
            <pc:docMk/>
            <pc:sldMk cId="1243885578" sldId="2147470263"/>
            <ac:spMk id="82" creationId="{9578D58B-81CB-E577-D88A-78FCECE32B3E}"/>
          </ac:spMkLst>
        </pc:spChg>
        <pc:spChg chg="mod">
          <ac:chgData name="Alexandre Zanetti de Almeida" userId="129d4ce6-e715-4d33-b4c4-312f1656225b" providerId="ADAL" clId="{588B9DB1-5659-4DE1-805E-57B0F19426CD}" dt="2025-06-30T14:54:47.734" v="2271"/>
          <ac:spMkLst>
            <pc:docMk/>
            <pc:sldMk cId="1243885578" sldId="2147470263"/>
            <ac:spMk id="84" creationId="{07168531-8DB1-C473-F49D-13733D085AEF}"/>
          </ac:spMkLst>
        </pc:spChg>
        <pc:spChg chg="mod">
          <ac:chgData name="Alexandre Zanetti de Almeida" userId="129d4ce6-e715-4d33-b4c4-312f1656225b" providerId="ADAL" clId="{588B9DB1-5659-4DE1-805E-57B0F19426CD}" dt="2025-06-30T15:07:02.751" v="2752"/>
          <ac:spMkLst>
            <pc:docMk/>
            <pc:sldMk cId="1243885578" sldId="2147470263"/>
            <ac:spMk id="87" creationId="{DB6C7D63-B003-AA3E-33E9-5B24EDE60893}"/>
          </ac:spMkLst>
        </pc:spChg>
        <pc:spChg chg="mod">
          <ac:chgData name="Alexandre Zanetti de Almeida" userId="129d4ce6-e715-4d33-b4c4-312f1656225b" providerId="ADAL" clId="{588B9DB1-5659-4DE1-805E-57B0F19426CD}" dt="2025-06-30T15:07:05.497" v="2753"/>
          <ac:spMkLst>
            <pc:docMk/>
            <pc:sldMk cId="1243885578" sldId="2147470263"/>
            <ac:spMk id="88" creationId="{ACC9D763-D196-5455-401F-090B590FB636}"/>
          </ac:spMkLst>
        </pc:spChg>
        <pc:spChg chg="mod">
          <ac:chgData name="Alexandre Zanetti de Almeida" userId="129d4ce6-e715-4d33-b4c4-312f1656225b" providerId="ADAL" clId="{588B9DB1-5659-4DE1-805E-57B0F19426CD}" dt="2025-06-30T15:11:56.927" v="2866"/>
          <ac:spMkLst>
            <pc:docMk/>
            <pc:sldMk cId="1243885578" sldId="2147470263"/>
            <ac:spMk id="89" creationId="{07E6C8D7-8765-578D-513E-150048DD819D}"/>
          </ac:spMkLst>
        </pc:spChg>
        <pc:spChg chg="mod">
          <ac:chgData name="Alexandre Zanetti de Almeida" userId="129d4ce6-e715-4d33-b4c4-312f1656225b" providerId="ADAL" clId="{588B9DB1-5659-4DE1-805E-57B0F19426CD}" dt="2025-06-30T14:54:47.734" v="2271"/>
          <ac:spMkLst>
            <pc:docMk/>
            <pc:sldMk cId="1243885578" sldId="2147470263"/>
            <ac:spMk id="92" creationId="{9D12DAD3-84CB-FB0A-4BAB-00B949CE2596}"/>
          </ac:spMkLst>
        </pc:spChg>
        <pc:spChg chg="mod">
          <ac:chgData name="Alexandre Zanetti de Almeida" userId="129d4ce6-e715-4d33-b4c4-312f1656225b" providerId="ADAL" clId="{588B9DB1-5659-4DE1-805E-57B0F19426CD}" dt="2025-06-30T14:54:47.734" v="2271"/>
          <ac:spMkLst>
            <pc:docMk/>
            <pc:sldMk cId="1243885578" sldId="2147470263"/>
            <ac:spMk id="93" creationId="{1AE2603F-C2E4-16DA-C5BB-FA701D72737E}"/>
          </ac:spMkLst>
        </pc:spChg>
        <pc:spChg chg="mod">
          <ac:chgData name="Alexandre Zanetti de Almeida" userId="129d4ce6-e715-4d33-b4c4-312f1656225b" providerId="ADAL" clId="{588B9DB1-5659-4DE1-805E-57B0F19426CD}" dt="2025-06-30T14:54:47.734" v="2271"/>
          <ac:spMkLst>
            <pc:docMk/>
            <pc:sldMk cId="1243885578" sldId="2147470263"/>
            <ac:spMk id="95" creationId="{54C99587-FE12-6997-D25C-0A0E2E85157F}"/>
          </ac:spMkLst>
        </pc:spChg>
        <pc:spChg chg="mod">
          <ac:chgData name="Alexandre Zanetti de Almeida" userId="129d4ce6-e715-4d33-b4c4-312f1656225b" providerId="ADAL" clId="{588B9DB1-5659-4DE1-805E-57B0F19426CD}" dt="2025-06-30T14:54:47.734" v="2271"/>
          <ac:spMkLst>
            <pc:docMk/>
            <pc:sldMk cId="1243885578" sldId="2147470263"/>
            <ac:spMk id="96" creationId="{A0B7BEA1-C96D-9793-27FC-6CA33C967D2E}"/>
          </ac:spMkLst>
        </pc:spChg>
        <pc:spChg chg="mod">
          <ac:chgData name="Alexandre Zanetti de Almeida" userId="129d4ce6-e715-4d33-b4c4-312f1656225b" providerId="ADAL" clId="{588B9DB1-5659-4DE1-805E-57B0F19426CD}" dt="2025-06-30T14:54:47.734" v="2271"/>
          <ac:spMkLst>
            <pc:docMk/>
            <pc:sldMk cId="1243885578" sldId="2147470263"/>
            <ac:spMk id="100" creationId="{C48F3D91-4C72-FEFB-2E99-4FDAF428FF53}"/>
          </ac:spMkLst>
        </pc:spChg>
        <pc:spChg chg="mod">
          <ac:chgData name="Alexandre Zanetti de Almeida" userId="129d4ce6-e715-4d33-b4c4-312f1656225b" providerId="ADAL" clId="{588B9DB1-5659-4DE1-805E-57B0F19426CD}" dt="2025-06-30T14:54:47.734" v="2271"/>
          <ac:spMkLst>
            <pc:docMk/>
            <pc:sldMk cId="1243885578" sldId="2147470263"/>
            <ac:spMk id="103" creationId="{97F17BA4-86AB-9174-A6B5-BD9FB4DBB905}"/>
          </ac:spMkLst>
        </pc:spChg>
        <pc:spChg chg="mod">
          <ac:chgData name="Alexandre Zanetti de Almeida" userId="129d4ce6-e715-4d33-b4c4-312f1656225b" providerId="ADAL" clId="{588B9DB1-5659-4DE1-805E-57B0F19426CD}" dt="2025-06-30T14:54:47.734" v="2271"/>
          <ac:spMkLst>
            <pc:docMk/>
            <pc:sldMk cId="1243885578" sldId="2147470263"/>
            <ac:spMk id="104" creationId="{42CB8807-2D08-4340-4551-56EBFFBE6412}"/>
          </ac:spMkLst>
        </pc:spChg>
      </pc:sldChg>
      <pc:sldChg chg="addSp delSp modSp add mod modShow">
        <pc:chgData name="Alexandre Zanetti de Almeida" userId="129d4ce6-e715-4d33-b4c4-312f1656225b" providerId="ADAL" clId="{588B9DB1-5659-4DE1-805E-57B0F19426CD}" dt="2025-07-04T10:44:23.634" v="3077" actId="729"/>
        <pc:sldMkLst>
          <pc:docMk/>
          <pc:sldMk cId="3797609788" sldId="2147470264"/>
        </pc:sldMkLst>
        <pc:spChg chg="mod">
          <ac:chgData name="Alexandre Zanetti de Almeida" userId="129d4ce6-e715-4d33-b4c4-312f1656225b" providerId="ADAL" clId="{588B9DB1-5659-4DE1-805E-57B0F19426CD}" dt="2025-06-30T15:03:57.228" v="2674"/>
          <ac:spMkLst>
            <pc:docMk/>
            <pc:sldMk cId="3797609788" sldId="2147470264"/>
            <ac:spMk id="10" creationId="{3282266D-48E9-9304-8915-CB8E314CB92A}"/>
          </ac:spMkLst>
        </pc:spChg>
        <pc:spChg chg="mod">
          <ac:chgData name="Alexandre Zanetti de Almeida" userId="129d4ce6-e715-4d33-b4c4-312f1656225b" providerId="ADAL" clId="{588B9DB1-5659-4DE1-805E-57B0F19426CD}" dt="2025-06-30T15:08:18.859" v="2783" actId="20577"/>
          <ac:spMkLst>
            <pc:docMk/>
            <pc:sldMk cId="3797609788" sldId="2147470264"/>
            <ac:spMk id="12" creationId="{8C6F6585-CFD9-61AF-2FC0-73C7C961FEE8}"/>
          </ac:spMkLst>
        </pc:spChg>
        <pc:spChg chg="mod">
          <ac:chgData name="Alexandre Zanetti de Almeida" userId="129d4ce6-e715-4d33-b4c4-312f1656225b" providerId="ADAL" clId="{588B9DB1-5659-4DE1-805E-57B0F19426CD}" dt="2025-06-30T15:07:26.053" v="2758"/>
          <ac:spMkLst>
            <pc:docMk/>
            <pc:sldMk cId="3797609788" sldId="2147470264"/>
            <ac:spMk id="14" creationId="{12797896-6A41-F0D5-009F-4CBBD77E0378}"/>
          </ac:spMkLst>
        </pc:spChg>
        <pc:spChg chg="mod">
          <ac:chgData name="Alexandre Zanetti de Almeida" userId="129d4ce6-e715-4d33-b4c4-312f1656225b" providerId="ADAL" clId="{588B9DB1-5659-4DE1-805E-57B0F19426CD}" dt="2025-06-30T14:54:53.812" v="2273"/>
          <ac:spMkLst>
            <pc:docMk/>
            <pc:sldMk cId="3797609788" sldId="2147470264"/>
            <ac:spMk id="16" creationId="{CF6CA9D8-AA24-AB59-5C26-C4CE9C4CA8ED}"/>
          </ac:spMkLst>
        </pc:spChg>
        <pc:spChg chg="mod">
          <ac:chgData name="Alexandre Zanetti de Almeida" userId="129d4ce6-e715-4d33-b4c4-312f1656225b" providerId="ADAL" clId="{588B9DB1-5659-4DE1-805E-57B0F19426CD}" dt="2025-06-30T14:54:53.812" v="2273"/>
          <ac:spMkLst>
            <pc:docMk/>
            <pc:sldMk cId="3797609788" sldId="2147470264"/>
            <ac:spMk id="17" creationId="{ECB896A5-6EB1-3488-BFA7-84DC1BC8A344}"/>
          </ac:spMkLst>
        </pc:spChg>
        <pc:spChg chg="mod">
          <ac:chgData name="Alexandre Zanetti de Almeida" userId="129d4ce6-e715-4d33-b4c4-312f1656225b" providerId="ADAL" clId="{588B9DB1-5659-4DE1-805E-57B0F19426CD}" dt="2025-06-30T14:54:53.812" v="2273"/>
          <ac:spMkLst>
            <pc:docMk/>
            <pc:sldMk cId="3797609788" sldId="2147470264"/>
            <ac:spMk id="18" creationId="{F62C5729-5CB2-717D-8DBD-6C83FBC3073B}"/>
          </ac:spMkLst>
        </pc:spChg>
        <pc:spChg chg="mod">
          <ac:chgData name="Alexandre Zanetti de Almeida" userId="129d4ce6-e715-4d33-b4c4-312f1656225b" providerId="ADAL" clId="{588B9DB1-5659-4DE1-805E-57B0F19426CD}" dt="2025-06-30T15:07:24.242" v="2757"/>
          <ac:spMkLst>
            <pc:docMk/>
            <pc:sldMk cId="3797609788" sldId="2147470264"/>
            <ac:spMk id="19" creationId="{D06B0BC2-BE08-FDFA-B1ED-19DE57BB9889}"/>
          </ac:spMkLst>
        </pc:spChg>
        <pc:spChg chg="mod">
          <ac:chgData name="Alexandre Zanetti de Almeida" userId="129d4ce6-e715-4d33-b4c4-312f1656225b" providerId="ADAL" clId="{588B9DB1-5659-4DE1-805E-57B0F19426CD}" dt="2025-06-30T15:05:13.237" v="2700" actId="6549"/>
          <ac:spMkLst>
            <pc:docMk/>
            <pc:sldMk cId="3797609788" sldId="2147470264"/>
            <ac:spMk id="20" creationId="{42F35C61-494F-842B-8C5B-0F9D7485C2F3}"/>
          </ac:spMkLst>
        </pc:spChg>
        <pc:spChg chg="mod">
          <ac:chgData name="Alexandre Zanetti de Almeida" userId="129d4ce6-e715-4d33-b4c4-312f1656225b" providerId="ADAL" clId="{588B9DB1-5659-4DE1-805E-57B0F19426CD}" dt="2025-06-30T15:12:01.110" v="2867"/>
          <ac:spMkLst>
            <pc:docMk/>
            <pc:sldMk cId="3797609788" sldId="2147470264"/>
            <ac:spMk id="21" creationId="{851525DC-6D42-9169-F4B7-208836B2B90A}"/>
          </ac:spMkLst>
        </pc:spChg>
        <pc:spChg chg="mod">
          <ac:chgData name="Alexandre Zanetti de Almeida" userId="129d4ce6-e715-4d33-b4c4-312f1656225b" providerId="ADAL" clId="{588B9DB1-5659-4DE1-805E-57B0F19426CD}" dt="2025-06-30T15:08:11.675" v="2774" actId="20577"/>
          <ac:spMkLst>
            <pc:docMk/>
            <pc:sldMk cId="3797609788" sldId="2147470264"/>
            <ac:spMk id="22" creationId="{F4C0A0CE-4FD6-F4C8-2F12-A32C06E8E31F}"/>
          </ac:spMkLst>
        </pc:spChg>
        <pc:spChg chg="mod">
          <ac:chgData name="Alexandre Zanetti de Almeida" userId="129d4ce6-e715-4d33-b4c4-312f1656225b" providerId="ADAL" clId="{588B9DB1-5659-4DE1-805E-57B0F19426CD}" dt="2025-06-30T14:51:44.729" v="2075" actId="20577"/>
          <ac:spMkLst>
            <pc:docMk/>
            <pc:sldMk cId="3797609788" sldId="2147470264"/>
            <ac:spMk id="24" creationId="{E2921942-5EF6-16FF-E30F-FB293D492CBF}"/>
          </ac:spMkLst>
        </pc:spChg>
        <pc:spChg chg="mod">
          <ac:chgData name="Alexandre Zanetti de Almeida" userId="129d4ce6-e715-4d33-b4c4-312f1656225b" providerId="ADAL" clId="{588B9DB1-5659-4DE1-805E-57B0F19426CD}" dt="2025-06-30T14:54:53.812" v="2273"/>
          <ac:spMkLst>
            <pc:docMk/>
            <pc:sldMk cId="3797609788" sldId="2147470264"/>
            <ac:spMk id="51" creationId="{2A9BC0CB-F2EE-B137-3B23-F7BC3329EF6C}"/>
          </ac:spMkLst>
        </pc:spChg>
        <pc:spChg chg="mod">
          <ac:chgData name="Alexandre Zanetti de Almeida" userId="129d4ce6-e715-4d33-b4c4-312f1656225b" providerId="ADAL" clId="{588B9DB1-5659-4DE1-805E-57B0F19426CD}" dt="2025-06-30T14:54:53.812" v="2273"/>
          <ac:spMkLst>
            <pc:docMk/>
            <pc:sldMk cId="3797609788" sldId="2147470264"/>
            <ac:spMk id="62" creationId="{0B481334-6C0F-7322-6566-09E01F6B2EE0}"/>
          </ac:spMkLst>
        </pc:spChg>
        <pc:spChg chg="mod">
          <ac:chgData name="Alexandre Zanetti de Almeida" userId="129d4ce6-e715-4d33-b4c4-312f1656225b" providerId="ADAL" clId="{588B9DB1-5659-4DE1-805E-57B0F19426CD}" dt="2025-06-30T14:54:53.812" v="2273"/>
          <ac:spMkLst>
            <pc:docMk/>
            <pc:sldMk cId="3797609788" sldId="2147470264"/>
            <ac:spMk id="64" creationId="{E42849A1-BBDE-2F9A-A6C2-FBF6E7CEBF3A}"/>
          </ac:spMkLst>
        </pc:spChg>
        <pc:spChg chg="mod">
          <ac:chgData name="Alexandre Zanetti de Almeida" userId="129d4ce6-e715-4d33-b4c4-312f1656225b" providerId="ADAL" clId="{588B9DB1-5659-4DE1-805E-57B0F19426CD}" dt="2025-06-30T14:54:53.812" v="2273"/>
          <ac:spMkLst>
            <pc:docMk/>
            <pc:sldMk cId="3797609788" sldId="2147470264"/>
            <ac:spMk id="67" creationId="{88BB36DE-2DD3-503E-738B-DF1DB0E92642}"/>
          </ac:spMkLst>
        </pc:spChg>
        <pc:spChg chg="mod">
          <ac:chgData name="Alexandre Zanetti de Almeida" userId="129d4ce6-e715-4d33-b4c4-312f1656225b" providerId="ADAL" clId="{588B9DB1-5659-4DE1-805E-57B0F19426CD}" dt="2025-06-30T14:54:53.812" v="2273"/>
          <ac:spMkLst>
            <pc:docMk/>
            <pc:sldMk cId="3797609788" sldId="2147470264"/>
            <ac:spMk id="71" creationId="{CA6ACFD9-C1AA-EF63-7E51-759E0D64E558}"/>
          </ac:spMkLst>
        </pc:spChg>
        <pc:spChg chg="mod">
          <ac:chgData name="Alexandre Zanetti de Almeida" userId="129d4ce6-e715-4d33-b4c4-312f1656225b" providerId="ADAL" clId="{588B9DB1-5659-4DE1-805E-57B0F19426CD}" dt="2025-06-30T14:54:53.812" v="2273"/>
          <ac:spMkLst>
            <pc:docMk/>
            <pc:sldMk cId="3797609788" sldId="2147470264"/>
            <ac:spMk id="73" creationId="{D2C82B8C-3307-36E9-60D7-076FA1B60D50}"/>
          </ac:spMkLst>
        </pc:spChg>
      </pc:sldChg>
      <pc:sldChg chg="addSp delSp modSp add mod modShow">
        <pc:chgData name="Alexandre Zanetti de Almeida" userId="129d4ce6-e715-4d33-b4c4-312f1656225b" providerId="ADAL" clId="{588B9DB1-5659-4DE1-805E-57B0F19426CD}" dt="2025-07-04T10:44:23.634" v="3077" actId="729"/>
        <pc:sldMkLst>
          <pc:docMk/>
          <pc:sldMk cId="821867383" sldId="2147470265"/>
        </pc:sldMkLst>
        <pc:spChg chg="mod">
          <ac:chgData name="Alexandre Zanetti de Almeida" userId="129d4ce6-e715-4d33-b4c4-312f1656225b" providerId="ADAL" clId="{588B9DB1-5659-4DE1-805E-57B0F19426CD}" dt="2025-06-30T14:54:58.783" v="2275"/>
          <ac:spMkLst>
            <pc:docMk/>
            <pc:sldMk cId="821867383" sldId="2147470265"/>
            <ac:spMk id="8" creationId="{F4B0F08F-9ECB-8819-5666-61EA1812772C}"/>
          </ac:spMkLst>
        </pc:spChg>
        <pc:spChg chg="mod">
          <ac:chgData name="Alexandre Zanetti de Almeida" userId="129d4ce6-e715-4d33-b4c4-312f1656225b" providerId="ADAL" clId="{588B9DB1-5659-4DE1-805E-57B0F19426CD}" dt="2025-06-30T15:06:02.452" v="2710" actId="6549"/>
          <ac:spMkLst>
            <pc:docMk/>
            <pc:sldMk cId="821867383" sldId="2147470265"/>
            <ac:spMk id="10" creationId="{B8922B77-09D0-575F-C62E-78FE665F9CE9}"/>
          </ac:spMkLst>
        </pc:spChg>
        <pc:spChg chg="mod">
          <ac:chgData name="Alexandre Zanetti de Almeida" userId="129d4ce6-e715-4d33-b4c4-312f1656225b" providerId="ADAL" clId="{588B9DB1-5659-4DE1-805E-57B0F19426CD}" dt="2025-06-30T15:07:29.714" v="2759"/>
          <ac:spMkLst>
            <pc:docMk/>
            <pc:sldMk cId="821867383" sldId="2147470265"/>
            <ac:spMk id="12" creationId="{0D7C356C-833F-C3F8-0C1A-4C5FCA8B7730}"/>
          </ac:spMkLst>
        </pc:spChg>
        <pc:spChg chg="mod">
          <ac:chgData name="Alexandre Zanetti de Almeida" userId="129d4ce6-e715-4d33-b4c4-312f1656225b" providerId="ADAL" clId="{588B9DB1-5659-4DE1-805E-57B0F19426CD}" dt="2025-06-30T15:07:31.069" v="2760"/>
          <ac:spMkLst>
            <pc:docMk/>
            <pc:sldMk cId="821867383" sldId="2147470265"/>
            <ac:spMk id="14" creationId="{8D34BE4B-5087-7276-21D4-2EE8C2EF17F9}"/>
          </ac:spMkLst>
        </pc:spChg>
        <pc:spChg chg="mod">
          <ac:chgData name="Alexandre Zanetti de Almeida" userId="129d4ce6-e715-4d33-b4c4-312f1656225b" providerId="ADAL" clId="{588B9DB1-5659-4DE1-805E-57B0F19426CD}" dt="2025-06-30T15:07:33.992" v="2761"/>
          <ac:spMkLst>
            <pc:docMk/>
            <pc:sldMk cId="821867383" sldId="2147470265"/>
            <ac:spMk id="19" creationId="{0575C178-4605-037C-3E32-081829EE6E70}"/>
          </ac:spMkLst>
        </pc:spChg>
        <pc:spChg chg="mod">
          <ac:chgData name="Alexandre Zanetti de Almeida" userId="129d4ce6-e715-4d33-b4c4-312f1656225b" providerId="ADAL" clId="{588B9DB1-5659-4DE1-805E-57B0F19426CD}" dt="2025-06-30T15:06:07.279" v="2711" actId="20577"/>
          <ac:spMkLst>
            <pc:docMk/>
            <pc:sldMk cId="821867383" sldId="2147470265"/>
            <ac:spMk id="20" creationId="{36B6EB54-8CB5-80BB-2F7B-1849D6FE4182}"/>
          </ac:spMkLst>
        </pc:spChg>
        <pc:spChg chg="mod">
          <ac:chgData name="Alexandre Zanetti de Almeida" userId="129d4ce6-e715-4d33-b4c4-312f1656225b" providerId="ADAL" clId="{588B9DB1-5659-4DE1-805E-57B0F19426CD}" dt="2025-06-30T15:12:04.444" v="2868"/>
          <ac:spMkLst>
            <pc:docMk/>
            <pc:sldMk cId="821867383" sldId="2147470265"/>
            <ac:spMk id="21" creationId="{CD75F47A-64B1-7401-252D-FC8109FBDD9C}"/>
          </ac:spMkLst>
        </pc:spChg>
        <pc:spChg chg="mod">
          <ac:chgData name="Alexandre Zanetti de Almeida" userId="129d4ce6-e715-4d33-b4c4-312f1656225b" providerId="ADAL" clId="{588B9DB1-5659-4DE1-805E-57B0F19426CD}" dt="2025-06-30T14:53:01.052" v="2183" actId="13926"/>
          <ac:spMkLst>
            <pc:docMk/>
            <pc:sldMk cId="821867383" sldId="2147470265"/>
            <ac:spMk id="24" creationId="{9FA7E9E7-37CF-9C6F-E5F3-7B8B3072D41A}"/>
          </ac:spMkLst>
        </pc:spChg>
        <pc:spChg chg="mod">
          <ac:chgData name="Alexandre Zanetti de Almeida" userId="129d4ce6-e715-4d33-b4c4-312f1656225b" providerId="ADAL" clId="{588B9DB1-5659-4DE1-805E-57B0F19426CD}" dt="2025-06-30T14:54:58.783" v="2275"/>
          <ac:spMkLst>
            <pc:docMk/>
            <pc:sldMk cId="821867383" sldId="2147470265"/>
            <ac:spMk id="51" creationId="{12F180B1-D9A9-D8A4-0C4F-B8B7A3905CD7}"/>
          </ac:spMkLst>
        </pc:spChg>
        <pc:spChg chg="mod">
          <ac:chgData name="Alexandre Zanetti de Almeida" userId="129d4ce6-e715-4d33-b4c4-312f1656225b" providerId="ADAL" clId="{588B9DB1-5659-4DE1-805E-57B0F19426CD}" dt="2025-06-30T14:54:58.783" v="2275"/>
          <ac:spMkLst>
            <pc:docMk/>
            <pc:sldMk cId="821867383" sldId="2147470265"/>
            <ac:spMk id="63" creationId="{2C0D0365-1E06-6C45-4E70-546EC28845A3}"/>
          </ac:spMkLst>
        </pc:spChg>
        <pc:spChg chg="mod">
          <ac:chgData name="Alexandre Zanetti de Almeida" userId="129d4ce6-e715-4d33-b4c4-312f1656225b" providerId="ADAL" clId="{588B9DB1-5659-4DE1-805E-57B0F19426CD}" dt="2025-06-30T14:54:58.783" v="2275"/>
          <ac:spMkLst>
            <pc:docMk/>
            <pc:sldMk cId="821867383" sldId="2147470265"/>
            <ac:spMk id="64" creationId="{D1FB4B76-7948-FE00-E3FE-B85538DFFE07}"/>
          </ac:spMkLst>
        </pc:spChg>
        <pc:spChg chg="mod">
          <ac:chgData name="Alexandre Zanetti de Almeida" userId="129d4ce6-e715-4d33-b4c4-312f1656225b" providerId="ADAL" clId="{588B9DB1-5659-4DE1-805E-57B0F19426CD}" dt="2025-06-30T14:54:58.783" v="2275"/>
          <ac:spMkLst>
            <pc:docMk/>
            <pc:sldMk cId="821867383" sldId="2147470265"/>
            <ac:spMk id="65" creationId="{CEAF3807-A7EA-6320-507A-E044E79B2220}"/>
          </ac:spMkLst>
        </pc:spChg>
        <pc:spChg chg="mod">
          <ac:chgData name="Alexandre Zanetti de Almeida" userId="129d4ce6-e715-4d33-b4c4-312f1656225b" providerId="ADAL" clId="{588B9DB1-5659-4DE1-805E-57B0F19426CD}" dt="2025-06-30T14:54:58.783" v="2275"/>
          <ac:spMkLst>
            <pc:docMk/>
            <pc:sldMk cId="821867383" sldId="2147470265"/>
            <ac:spMk id="67" creationId="{D979121F-24B8-7584-9545-18667C7D5FF4}"/>
          </ac:spMkLst>
        </pc:spChg>
        <pc:spChg chg="mod">
          <ac:chgData name="Alexandre Zanetti de Almeida" userId="129d4ce6-e715-4d33-b4c4-312f1656225b" providerId="ADAL" clId="{588B9DB1-5659-4DE1-805E-57B0F19426CD}" dt="2025-06-30T14:54:58.783" v="2275"/>
          <ac:spMkLst>
            <pc:docMk/>
            <pc:sldMk cId="821867383" sldId="2147470265"/>
            <ac:spMk id="70" creationId="{8C3EA1EB-0EF2-2E01-B9AC-5C2D67C8F07F}"/>
          </ac:spMkLst>
        </pc:spChg>
        <pc:spChg chg="mod">
          <ac:chgData name="Alexandre Zanetti de Almeida" userId="129d4ce6-e715-4d33-b4c4-312f1656225b" providerId="ADAL" clId="{588B9DB1-5659-4DE1-805E-57B0F19426CD}" dt="2025-06-30T14:54:58.783" v="2275"/>
          <ac:spMkLst>
            <pc:docMk/>
            <pc:sldMk cId="821867383" sldId="2147470265"/>
            <ac:spMk id="71" creationId="{2C16CAC0-931A-E047-03FB-F791761A9D0F}"/>
          </ac:spMkLst>
        </pc:spChg>
      </pc:sldChg>
      <pc:sldChg chg="addSp delSp modSp add mod modShow">
        <pc:chgData name="Alexandre Zanetti de Almeida" userId="129d4ce6-e715-4d33-b4c4-312f1656225b" providerId="ADAL" clId="{588B9DB1-5659-4DE1-805E-57B0F19426CD}" dt="2025-07-04T10:44:23.634" v="3077" actId="729"/>
        <pc:sldMkLst>
          <pc:docMk/>
          <pc:sldMk cId="1519765027" sldId="2147470266"/>
        </pc:sldMkLst>
        <pc:spChg chg="mod">
          <ac:chgData name="Alexandre Zanetti de Almeida" userId="129d4ce6-e715-4d33-b4c4-312f1656225b" providerId="ADAL" clId="{588B9DB1-5659-4DE1-805E-57B0F19426CD}" dt="2025-06-30T14:55:04.287" v="2277"/>
          <ac:spMkLst>
            <pc:docMk/>
            <pc:sldMk cId="1519765027" sldId="2147470266"/>
            <ac:spMk id="9" creationId="{46922B01-6A8A-ADDC-E3FD-03C2EA585F06}"/>
          </ac:spMkLst>
        </pc:spChg>
        <pc:spChg chg="mod">
          <ac:chgData name="Alexandre Zanetti de Almeida" userId="129d4ce6-e715-4d33-b4c4-312f1656225b" providerId="ADAL" clId="{588B9DB1-5659-4DE1-805E-57B0F19426CD}" dt="2025-06-30T15:06:16.825" v="2712"/>
          <ac:spMkLst>
            <pc:docMk/>
            <pc:sldMk cId="1519765027" sldId="2147470266"/>
            <ac:spMk id="10" creationId="{5E78203B-B5EF-2184-04CE-FFB7A054CC7B}"/>
          </ac:spMkLst>
        </pc:spChg>
        <pc:spChg chg="mod">
          <ac:chgData name="Alexandre Zanetti de Almeida" userId="129d4ce6-e715-4d33-b4c4-312f1656225b" providerId="ADAL" clId="{588B9DB1-5659-4DE1-805E-57B0F19426CD}" dt="2025-06-30T15:07:38.633" v="2764"/>
          <ac:spMkLst>
            <pc:docMk/>
            <pc:sldMk cId="1519765027" sldId="2147470266"/>
            <ac:spMk id="12" creationId="{729FE331-F2D9-1BDA-31CA-B3700FCF2AD5}"/>
          </ac:spMkLst>
        </pc:spChg>
        <pc:spChg chg="mod">
          <ac:chgData name="Alexandre Zanetti de Almeida" userId="129d4ce6-e715-4d33-b4c4-312f1656225b" providerId="ADAL" clId="{588B9DB1-5659-4DE1-805E-57B0F19426CD}" dt="2025-06-30T15:07:40.724" v="2765"/>
          <ac:spMkLst>
            <pc:docMk/>
            <pc:sldMk cId="1519765027" sldId="2147470266"/>
            <ac:spMk id="14" creationId="{665D318E-B9C7-7E52-CD1B-B166E17ACCCF}"/>
          </ac:spMkLst>
        </pc:spChg>
        <pc:spChg chg="mod">
          <ac:chgData name="Alexandre Zanetti de Almeida" userId="129d4ce6-e715-4d33-b4c4-312f1656225b" providerId="ADAL" clId="{588B9DB1-5659-4DE1-805E-57B0F19426CD}" dt="2025-06-30T14:55:04.287" v="2277"/>
          <ac:spMkLst>
            <pc:docMk/>
            <pc:sldMk cId="1519765027" sldId="2147470266"/>
            <ac:spMk id="18" creationId="{A4192342-2B69-76A4-6B8A-D8BF017A3A91}"/>
          </ac:spMkLst>
        </pc:spChg>
        <pc:spChg chg="mod">
          <ac:chgData name="Alexandre Zanetti de Almeida" userId="129d4ce6-e715-4d33-b4c4-312f1656225b" providerId="ADAL" clId="{588B9DB1-5659-4DE1-805E-57B0F19426CD}" dt="2025-06-30T15:07:35.851" v="2762"/>
          <ac:spMkLst>
            <pc:docMk/>
            <pc:sldMk cId="1519765027" sldId="2147470266"/>
            <ac:spMk id="19" creationId="{BBA8487D-C907-1293-5502-B2D9681BE8F7}"/>
          </ac:spMkLst>
        </pc:spChg>
        <pc:spChg chg="mod">
          <ac:chgData name="Alexandre Zanetti de Almeida" userId="129d4ce6-e715-4d33-b4c4-312f1656225b" providerId="ADAL" clId="{588B9DB1-5659-4DE1-805E-57B0F19426CD}" dt="2025-06-30T15:07:37.235" v="2763"/>
          <ac:spMkLst>
            <pc:docMk/>
            <pc:sldMk cId="1519765027" sldId="2147470266"/>
            <ac:spMk id="20" creationId="{A402CCB8-CD5A-84DB-1099-8906FEB0A661}"/>
          </ac:spMkLst>
        </pc:spChg>
        <pc:spChg chg="mod">
          <ac:chgData name="Alexandre Zanetti de Almeida" userId="129d4ce6-e715-4d33-b4c4-312f1656225b" providerId="ADAL" clId="{588B9DB1-5659-4DE1-805E-57B0F19426CD}" dt="2025-06-30T15:12:07.952" v="2869"/>
          <ac:spMkLst>
            <pc:docMk/>
            <pc:sldMk cId="1519765027" sldId="2147470266"/>
            <ac:spMk id="21" creationId="{64BFAAC7-A7DB-10EC-78F1-D243C7C4D1BB}"/>
          </ac:spMkLst>
        </pc:spChg>
        <pc:spChg chg="mod">
          <ac:chgData name="Alexandre Zanetti de Almeida" userId="129d4ce6-e715-4d33-b4c4-312f1656225b" providerId="ADAL" clId="{588B9DB1-5659-4DE1-805E-57B0F19426CD}" dt="2025-06-30T14:53:35.960" v="2202" actId="13926"/>
          <ac:spMkLst>
            <pc:docMk/>
            <pc:sldMk cId="1519765027" sldId="2147470266"/>
            <ac:spMk id="24" creationId="{D8EF283B-3DE2-C70A-F5EF-DF0E208EB5C8}"/>
          </ac:spMkLst>
        </pc:spChg>
        <pc:spChg chg="mod">
          <ac:chgData name="Alexandre Zanetti de Almeida" userId="129d4ce6-e715-4d33-b4c4-312f1656225b" providerId="ADAL" clId="{588B9DB1-5659-4DE1-805E-57B0F19426CD}" dt="2025-06-30T14:55:04.287" v="2277"/>
          <ac:spMkLst>
            <pc:docMk/>
            <pc:sldMk cId="1519765027" sldId="2147470266"/>
            <ac:spMk id="51" creationId="{92F8944C-903E-0F9B-158E-1B937F755E7A}"/>
          </ac:spMkLst>
        </pc:spChg>
        <pc:spChg chg="mod">
          <ac:chgData name="Alexandre Zanetti de Almeida" userId="129d4ce6-e715-4d33-b4c4-312f1656225b" providerId="ADAL" clId="{588B9DB1-5659-4DE1-805E-57B0F19426CD}" dt="2025-06-30T14:55:04.287" v="2277"/>
          <ac:spMkLst>
            <pc:docMk/>
            <pc:sldMk cId="1519765027" sldId="2147470266"/>
            <ac:spMk id="52" creationId="{07D3CD76-8AA2-2A70-4211-E491E27B84D6}"/>
          </ac:spMkLst>
        </pc:spChg>
        <pc:spChg chg="mod">
          <ac:chgData name="Alexandre Zanetti de Almeida" userId="129d4ce6-e715-4d33-b4c4-312f1656225b" providerId="ADAL" clId="{588B9DB1-5659-4DE1-805E-57B0F19426CD}" dt="2025-06-30T14:55:04.287" v="2277"/>
          <ac:spMkLst>
            <pc:docMk/>
            <pc:sldMk cId="1519765027" sldId="2147470266"/>
            <ac:spMk id="63" creationId="{0AE79986-C66A-E288-E770-91DC657AF252}"/>
          </ac:spMkLst>
        </pc:spChg>
        <pc:spChg chg="mod">
          <ac:chgData name="Alexandre Zanetti de Almeida" userId="129d4ce6-e715-4d33-b4c4-312f1656225b" providerId="ADAL" clId="{588B9DB1-5659-4DE1-805E-57B0F19426CD}" dt="2025-06-30T14:55:04.287" v="2277"/>
          <ac:spMkLst>
            <pc:docMk/>
            <pc:sldMk cId="1519765027" sldId="2147470266"/>
            <ac:spMk id="64" creationId="{811F9327-FFCD-91C0-3D19-903B5586882B}"/>
          </ac:spMkLst>
        </pc:spChg>
        <pc:spChg chg="mod">
          <ac:chgData name="Alexandre Zanetti de Almeida" userId="129d4ce6-e715-4d33-b4c4-312f1656225b" providerId="ADAL" clId="{588B9DB1-5659-4DE1-805E-57B0F19426CD}" dt="2025-06-30T14:55:04.287" v="2277"/>
          <ac:spMkLst>
            <pc:docMk/>
            <pc:sldMk cId="1519765027" sldId="2147470266"/>
            <ac:spMk id="67" creationId="{B59C23E1-F20D-F6F1-CE67-1DA1637B381C}"/>
          </ac:spMkLst>
        </pc:spChg>
        <pc:spChg chg="mod">
          <ac:chgData name="Alexandre Zanetti de Almeida" userId="129d4ce6-e715-4d33-b4c4-312f1656225b" providerId="ADAL" clId="{588B9DB1-5659-4DE1-805E-57B0F19426CD}" dt="2025-06-30T14:55:04.287" v="2277"/>
          <ac:spMkLst>
            <pc:docMk/>
            <pc:sldMk cId="1519765027" sldId="2147470266"/>
            <ac:spMk id="72" creationId="{E6F1E5FA-0DDB-599B-7E88-A55E1F6523AD}"/>
          </ac:spMkLst>
        </pc:spChg>
      </pc:sldChg>
      <pc:sldChg chg="addSp delSp modSp new del mod">
        <pc:chgData name="Alexandre Zanetti de Almeida" userId="129d4ce6-e715-4d33-b4c4-312f1656225b" providerId="ADAL" clId="{588B9DB1-5659-4DE1-805E-57B0F19426CD}" dt="2025-07-04T10:43:48.430" v="3071" actId="47"/>
        <pc:sldMkLst>
          <pc:docMk/>
          <pc:sldMk cId="1402151837" sldId="2147470267"/>
        </pc:sldMkLst>
        <pc:spChg chg="del">
          <ac:chgData name="Alexandre Zanetti de Almeida" userId="129d4ce6-e715-4d33-b4c4-312f1656225b" providerId="ADAL" clId="{588B9DB1-5659-4DE1-805E-57B0F19426CD}" dt="2025-07-03T18:49:27.908" v="2955" actId="478"/>
          <ac:spMkLst>
            <pc:docMk/>
            <pc:sldMk cId="1402151837" sldId="2147470267"/>
            <ac:spMk id="2" creationId="{5A707C79-5898-F084-2F06-CC1A7E47467F}"/>
          </ac:spMkLst>
        </pc:spChg>
        <pc:spChg chg="del">
          <ac:chgData name="Alexandre Zanetti de Almeida" userId="129d4ce6-e715-4d33-b4c4-312f1656225b" providerId="ADAL" clId="{588B9DB1-5659-4DE1-805E-57B0F19426CD}" dt="2025-07-03T18:49:27.908" v="2955" actId="478"/>
          <ac:spMkLst>
            <pc:docMk/>
            <pc:sldMk cId="1402151837" sldId="2147470267"/>
            <ac:spMk id="3" creationId="{1B0DA95B-3AFE-D7ED-A87A-459774B20DA8}"/>
          </ac:spMkLst>
        </pc:spChg>
        <pc:spChg chg="add mod">
          <ac:chgData name="Alexandre Zanetti de Almeida" userId="129d4ce6-e715-4d33-b4c4-312f1656225b" providerId="ADAL" clId="{588B9DB1-5659-4DE1-805E-57B0F19426CD}" dt="2025-07-03T18:51:13.078" v="3043" actId="1076"/>
          <ac:spMkLst>
            <pc:docMk/>
            <pc:sldMk cId="1402151837" sldId="2147470267"/>
            <ac:spMk id="4" creationId="{99C972D4-B118-FFBB-3AD6-97FA54991400}"/>
          </ac:spMkLst>
        </pc:spChg>
        <pc:spChg chg="add mod">
          <ac:chgData name="Alexandre Zanetti de Almeida" userId="129d4ce6-e715-4d33-b4c4-312f1656225b" providerId="ADAL" clId="{588B9DB1-5659-4DE1-805E-57B0F19426CD}" dt="2025-07-03T18:51:13.078" v="3043" actId="1076"/>
          <ac:spMkLst>
            <pc:docMk/>
            <pc:sldMk cId="1402151837" sldId="2147470267"/>
            <ac:spMk id="5" creationId="{B7B52719-675D-1B65-6F4C-D40AA2F8E4A0}"/>
          </ac:spMkLst>
        </pc:spChg>
        <pc:spChg chg="add mod">
          <ac:chgData name="Alexandre Zanetti de Almeida" userId="129d4ce6-e715-4d33-b4c4-312f1656225b" providerId="ADAL" clId="{588B9DB1-5659-4DE1-805E-57B0F19426CD}" dt="2025-07-03T18:51:13.078" v="3043" actId="1076"/>
          <ac:spMkLst>
            <pc:docMk/>
            <pc:sldMk cId="1402151837" sldId="2147470267"/>
            <ac:spMk id="6" creationId="{E62A2840-F270-F4F5-64C1-B388064FBF9D}"/>
          </ac:spMkLst>
        </pc:spChg>
        <pc:spChg chg="add mod">
          <ac:chgData name="Alexandre Zanetti de Almeida" userId="129d4ce6-e715-4d33-b4c4-312f1656225b" providerId="ADAL" clId="{588B9DB1-5659-4DE1-805E-57B0F19426CD}" dt="2025-07-03T18:51:13.078" v="3043" actId="1076"/>
          <ac:spMkLst>
            <pc:docMk/>
            <pc:sldMk cId="1402151837" sldId="2147470267"/>
            <ac:spMk id="7" creationId="{DF5FCED4-E503-9AA7-1AF7-0E618B3BF16E}"/>
          </ac:spMkLst>
        </pc:spChg>
        <pc:spChg chg="add mod ord">
          <ac:chgData name="Alexandre Zanetti de Almeida" userId="129d4ce6-e715-4d33-b4c4-312f1656225b" providerId="ADAL" clId="{588B9DB1-5659-4DE1-805E-57B0F19426CD}" dt="2025-07-03T18:52:21.953" v="3067" actId="20577"/>
          <ac:spMkLst>
            <pc:docMk/>
            <pc:sldMk cId="1402151837" sldId="2147470267"/>
            <ac:spMk id="8" creationId="{1F838495-4D43-C9E7-EA24-50CB0390D137}"/>
          </ac:spMkLst>
        </pc:spChg>
        <pc:spChg chg="add mod">
          <ac:chgData name="Alexandre Zanetti de Almeida" userId="129d4ce6-e715-4d33-b4c4-312f1656225b" providerId="ADAL" clId="{588B9DB1-5659-4DE1-805E-57B0F19426CD}" dt="2025-07-03T18:51:13.078" v="3043" actId="1076"/>
          <ac:spMkLst>
            <pc:docMk/>
            <pc:sldMk cId="1402151837" sldId="2147470267"/>
            <ac:spMk id="9" creationId="{AB08BFCB-7C54-4F89-47DE-8E149621E62D}"/>
          </ac:spMkLst>
        </pc:spChg>
      </pc:sldChg>
      <pc:sldChg chg="add">
        <pc:chgData name="Alexandre Zanetti de Almeida" userId="129d4ce6-e715-4d33-b4c4-312f1656225b" providerId="ADAL" clId="{588B9DB1-5659-4DE1-805E-57B0F19426CD}" dt="2025-07-03T18:54:53.584" v="3068" actId="2890"/>
        <pc:sldMkLst>
          <pc:docMk/>
          <pc:sldMk cId="1057286600" sldId="2147470268"/>
        </pc:sldMkLst>
      </pc:sldChg>
      <pc:sldChg chg="modSp add mod">
        <pc:chgData name="Alexandre Zanetti de Almeida" userId="129d4ce6-e715-4d33-b4c4-312f1656225b" providerId="ADAL" clId="{588B9DB1-5659-4DE1-805E-57B0F19426CD}" dt="2025-07-04T13:03:11.776" v="3160" actId="6549"/>
        <pc:sldMkLst>
          <pc:docMk/>
          <pc:sldMk cId="3357642481" sldId="2147470269"/>
        </pc:sldMkLst>
        <pc:spChg chg="mod">
          <ac:chgData name="Alexandre Zanetti de Almeida" userId="129d4ce6-e715-4d33-b4c4-312f1656225b" providerId="ADAL" clId="{588B9DB1-5659-4DE1-805E-57B0F19426CD}" dt="2025-07-04T13:01:34.372" v="3110" actId="13926"/>
          <ac:spMkLst>
            <pc:docMk/>
            <pc:sldMk cId="3357642481" sldId="2147470269"/>
            <ac:spMk id="24" creationId="{DED771C5-33D7-5DFC-066C-05C77474123C}"/>
          </ac:spMkLst>
        </pc:spChg>
        <pc:spChg chg="mod">
          <ac:chgData name="Alexandre Zanetti de Almeida" userId="129d4ce6-e715-4d33-b4c4-312f1656225b" providerId="ADAL" clId="{588B9DB1-5659-4DE1-805E-57B0F19426CD}" dt="2025-07-04T13:03:11.776" v="3160" actId="6549"/>
          <ac:spMkLst>
            <pc:docMk/>
            <pc:sldMk cId="3357642481" sldId="2147470269"/>
            <ac:spMk id="29" creationId="{C8CE7E6A-BE1C-7860-1389-3016B15B1CED}"/>
          </ac:spMkLst>
        </pc:spChg>
        <pc:spChg chg="mod">
          <ac:chgData name="Alexandre Zanetti de Almeida" userId="129d4ce6-e715-4d33-b4c4-312f1656225b" providerId="ADAL" clId="{588B9DB1-5659-4DE1-805E-57B0F19426CD}" dt="2025-07-04T13:02:00.707" v="3116"/>
          <ac:spMkLst>
            <pc:docMk/>
            <pc:sldMk cId="3357642481" sldId="2147470269"/>
            <ac:spMk id="30" creationId="{387101AD-9C77-B3E6-78B3-38D4080C5ABE}"/>
          </ac:spMkLst>
        </pc:spChg>
        <pc:spChg chg="mod">
          <ac:chgData name="Alexandre Zanetti de Almeida" userId="129d4ce6-e715-4d33-b4c4-312f1656225b" providerId="ADAL" clId="{588B9DB1-5659-4DE1-805E-57B0F19426CD}" dt="2025-07-04T13:02:01.783" v="3117"/>
          <ac:spMkLst>
            <pc:docMk/>
            <pc:sldMk cId="3357642481" sldId="2147470269"/>
            <ac:spMk id="31" creationId="{3DDE5FA7-373B-8CA5-793D-F921F55C31D2}"/>
          </ac:spMkLst>
        </pc:spChg>
        <pc:spChg chg="mod">
          <ac:chgData name="Alexandre Zanetti de Almeida" userId="129d4ce6-e715-4d33-b4c4-312f1656225b" providerId="ADAL" clId="{588B9DB1-5659-4DE1-805E-57B0F19426CD}" dt="2025-07-04T13:02:03.180" v="3118"/>
          <ac:spMkLst>
            <pc:docMk/>
            <pc:sldMk cId="3357642481" sldId="2147470269"/>
            <ac:spMk id="36" creationId="{4683E50E-DCEE-892B-4044-47D2836ECAC0}"/>
          </ac:spMkLst>
        </pc:spChg>
        <pc:spChg chg="mod">
          <ac:chgData name="Alexandre Zanetti de Almeida" userId="129d4ce6-e715-4d33-b4c4-312f1656225b" providerId="ADAL" clId="{588B9DB1-5659-4DE1-805E-57B0F19426CD}" dt="2025-07-04T13:02:05.196" v="3119"/>
          <ac:spMkLst>
            <pc:docMk/>
            <pc:sldMk cId="3357642481" sldId="2147470269"/>
            <ac:spMk id="37" creationId="{8B73FEA9-92F1-B43D-70E7-D69A0B9253A0}"/>
          </ac:spMkLst>
        </pc:spChg>
        <pc:spChg chg="mod">
          <ac:chgData name="Alexandre Zanetti de Almeida" userId="129d4ce6-e715-4d33-b4c4-312f1656225b" providerId="ADAL" clId="{588B9DB1-5659-4DE1-805E-57B0F19426CD}" dt="2025-07-04T13:02:06.358" v="3120"/>
          <ac:spMkLst>
            <pc:docMk/>
            <pc:sldMk cId="3357642481" sldId="2147470269"/>
            <ac:spMk id="38" creationId="{B05A42FB-ACCF-FF02-1C6A-9A5D06AA4E38}"/>
          </ac:spMkLst>
        </pc:spChg>
        <pc:spChg chg="mod">
          <ac:chgData name="Alexandre Zanetti de Almeida" userId="129d4ce6-e715-4d33-b4c4-312f1656225b" providerId="ADAL" clId="{588B9DB1-5659-4DE1-805E-57B0F19426CD}" dt="2025-07-04T10:44:39.004" v="3089" actId="20577"/>
          <ac:spMkLst>
            <pc:docMk/>
            <pc:sldMk cId="3357642481" sldId="2147470269"/>
            <ac:spMk id="45" creationId="{F2E73067-8CFF-6038-CDA2-FE6C30BA6E5D}"/>
          </ac:spMkLst>
        </pc:spChg>
        <pc:spChg chg="mod">
          <ac:chgData name="Alexandre Zanetti de Almeida" userId="129d4ce6-e715-4d33-b4c4-312f1656225b" providerId="ADAL" clId="{588B9DB1-5659-4DE1-805E-57B0F19426CD}" dt="2025-07-04T10:44:42.836" v="3094" actId="20577"/>
          <ac:spMkLst>
            <pc:docMk/>
            <pc:sldMk cId="3357642481" sldId="2147470269"/>
            <ac:spMk id="46" creationId="{3F95A05A-C82A-00B6-55BB-BB0FFA9E3351}"/>
          </ac:spMkLst>
        </pc:spChg>
        <pc:spChg chg="mod">
          <ac:chgData name="Alexandre Zanetti de Almeida" userId="129d4ce6-e715-4d33-b4c4-312f1656225b" providerId="ADAL" clId="{588B9DB1-5659-4DE1-805E-57B0F19426CD}" dt="2025-07-04T10:44:45.732" v="3097" actId="20577"/>
          <ac:spMkLst>
            <pc:docMk/>
            <pc:sldMk cId="3357642481" sldId="2147470269"/>
            <ac:spMk id="47" creationId="{1099CBC0-E1E8-7F8B-B2A0-990305534D7F}"/>
          </ac:spMkLst>
        </pc:spChg>
        <pc:spChg chg="mod">
          <ac:chgData name="Alexandre Zanetti de Almeida" userId="129d4ce6-e715-4d33-b4c4-312f1656225b" providerId="ADAL" clId="{588B9DB1-5659-4DE1-805E-57B0F19426CD}" dt="2025-07-04T10:44:29.492" v="3080" actId="20577"/>
          <ac:spMkLst>
            <pc:docMk/>
            <pc:sldMk cId="3357642481" sldId="2147470269"/>
            <ac:spMk id="58" creationId="{19BDCEE3-27C2-1B79-209E-5A86D66636C3}"/>
          </ac:spMkLst>
        </pc:spChg>
        <pc:spChg chg="mod">
          <ac:chgData name="Alexandre Zanetti de Almeida" userId="129d4ce6-e715-4d33-b4c4-312f1656225b" providerId="ADAL" clId="{588B9DB1-5659-4DE1-805E-57B0F19426CD}" dt="2025-07-04T10:44:33.904" v="3083" actId="20577"/>
          <ac:spMkLst>
            <pc:docMk/>
            <pc:sldMk cId="3357642481" sldId="2147470269"/>
            <ac:spMk id="59" creationId="{9BFC92F0-A767-52EC-7C3E-A36CA9E9C6C5}"/>
          </ac:spMkLst>
        </pc:spChg>
        <pc:spChg chg="mod">
          <ac:chgData name="Alexandre Zanetti de Almeida" userId="129d4ce6-e715-4d33-b4c4-312f1656225b" providerId="ADAL" clId="{588B9DB1-5659-4DE1-805E-57B0F19426CD}" dt="2025-07-04T10:44:36.042" v="3086" actId="20577"/>
          <ac:spMkLst>
            <pc:docMk/>
            <pc:sldMk cId="3357642481" sldId="2147470269"/>
            <ac:spMk id="60" creationId="{F47EAA47-9D55-E5E1-9012-3097E665D3C0}"/>
          </ac:spMkLst>
        </pc:spChg>
      </pc:sldChg>
      <pc:sldChg chg="addSp delSp modSp add mod">
        <pc:chgData name="Alexandre Zanetti de Almeida" userId="129d4ce6-e715-4d33-b4c4-312f1656225b" providerId="ADAL" clId="{588B9DB1-5659-4DE1-805E-57B0F19426CD}" dt="2025-07-04T13:03:22.759" v="3161"/>
        <pc:sldMkLst>
          <pc:docMk/>
          <pc:sldMk cId="3633522362" sldId="2147470270"/>
        </pc:sldMkLst>
        <pc:spChg chg="mod">
          <ac:chgData name="Alexandre Zanetti de Almeida" userId="129d4ce6-e715-4d33-b4c4-312f1656225b" providerId="ADAL" clId="{588B9DB1-5659-4DE1-805E-57B0F19426CD}" dt="2025-07-04T13:02:17.073" v="3122"/>
          <ac:spMkLst>
            <pc:docMk/>
            <pc:sldMk cId="3633522362" sldId="2147470270"/>
            <ac:spMk id="10" creationId="{6A7428E9-2678-097E-5367-3706E5380D90}"/>
          </ac:spMkLst>
        </pc:spChg>
        <pc:spChg chg="mod">
          <ac:chgData name="Alexandre Zanetti de Almeida" userId="129d4ce6-e715-4d33-b4c4-312f1656225b" providerId="ADAL" clId="{588B9DB1-5659-4DE1-805E-57B0F19426CD}" dt="2025-07-04T13:02:17.073" v="3122"/>
          <ac:spMkLst>
            <pc:docMk/>
            <pc:sldMk cId="3633522362" sldId="2147470270"/>
            <ac:spMk id="18" creationId="{A1F33BE5-03B3-21D0-4E01-0D5016673B25}"/>
          </ac:spMkLst>
        </pc:spChg>
        <pc:spChg chg="mod">
          <ac:chgData name="Alexandre Zanetti de Almeida" userId="129d4ce6-e715-4d33-b4c4-312f1656225b" providerId="ADAL" clId="{588B9DB1-5659-4DE1-805E-57B0F19426CD}" dt="2025-07-04T13:02:17.073" v="3122"/>
          <ac:spMkLst>
            <pc:docMk/>
            <pc:sldMk cId="3633522362" sldId="2147470270"/>
            <ac:spMk id="19" creationId="{174A7065-C103-61C1-4211-96815DD73449}"/>
          </ac:spMkLst>
        </pc:spChg>
        <pc:spChg chg="mod">
          <ac:chgData name="Alexandre Zanetti de Almeida" userId="129d4ce6-e715-4d33-b4c4-312f1656225b" providerId="ADAL" clId="{588B9DB1-5659-4DE1-805E-57B0F19426CD}" dt="2025-07-04T13:02:17.073" v="3122"/>
          <ac:spMkLst>
            <pc:docMk/>
            <pc:sldMk cId="3633522362" sldId="2147470270"/>
            <ac:spMk id="21" creationId="{33037AEC-CF77-A4A8-D8FE-6ECAA558E560}"/>
          </ac:spMkLst>
        </pc:spChg>
        <pc:spChg chg="mod">
          <ac:chgData name="Alexandre Zanetti de Almeida" userId="129d4ce6-e715-4d33-b4c4-312f1656225b" providerId="ADAL" clId="{588B9DB1-5659-4DE1-805E-57B0F19426CD}" dt="2025-07-04T13:01:47.763" v="3111"/>
          <ac:spMkLst>
            <pc:docMk/>
            <pc:sldMk cId="3633522362" sldId="2147470270"/>
            <ac:spMk id="24" creationId="{5365ED1C-A159-3203-18E0-33FCF7FEDA2D}"/>
          </ac:spMkLst>
        </pc:spChg>
        <pc:spChg chg="mod">
          <ac:chgData name="Alexandre Zanetti de Almeida" userId="129d4ce6-e715-4d33-b4c4-312f1656225b" providerId="ADAL" clId="{588B9DB1-5659-4DE1-805E-57B0F19426CD}" dt="2025-07-04T13:02:17.073" v="3122"/>
          <ac:spMkLst>
            <pc:docMk/>
            <pc:sldMk cId="3633522362" sldId="2147470270"/>
            <ac:spMk id="30" creationId="{14B96148-0A6F-B7AE-F6A8-6337D72978DE}"/>
          </ac:spMkLst>
        </pc:spChg>
        <pc:spChg chg="mod">
          <ac:chgData name="Alexandre Zanetti de Almeida" userId="129d4ce6-e715-4d33-b4c4-312f1656225b" providerId="ADAL" clId="{588B9DB1-5659-4DE1-805E-57B0F19426CD}" dt="2025-07-04T13:02:17.073" v="3122"/>
          <ac:spMkLst>
            <pc:docMk/>
            <pc:sldMk cId="3633522362" sldId="2147470270"/>
            <ac:spMk id="31" creationId="{8E48374E-517A-EA0F-A8D2-D9E02C969FE5}"/>
          </ac:spMkLst>
        </pc:spChg>
        <pc:spChg chg="mod">
          <ac:chgData name="Alexandre Zanetti de Almeida" userId="129d4ce6-e715-4d33-b4c4-312f1656225b" providerId="ADAL" clId="{588B9DB1-5659-4DE1-805E-57B0F19426CD}" dt="2025-07-04T13:02:17.073" v="3122"/>
          <ac:spMkLst>
            <pc:docMk/>
            <pc:sldMk cId="3633522362" sldId="2147470270"/>
            <ac:spMk id="35" creationId="{B9FEF896-D848-79BA-B534-61D8971C3BF2}"/>
          </ac:spMkLst>
        </pc:spChg>
        <pc:spChg chg="mod">
          <ac:chgData name="Alexandre Zanetti de Almeida" userId="129d4ce6-e715-4d33-b4c4-312f1656225b" providerId="ADAL" clId="{588B9DB1-5659-4DE1-805E-57B0F19426CD}" dt="2025-07-04T13:02:17.073" v="3122"/>
          <ac:spMkLst>
            <pc:docMk/>
            <pc:sldMk cId="3633522362" sldId="2147470270"/>
            <ac:spMk id="38" creationId="{DEC99082-1F93-EF6E-5706-4E479FBEB45F}"/>
          </ac:spMkLst>
        </pc:spChg>
        <pc:spChg chg="mod">
          <ac:chgData name="Alexandre Zanetti de Almeida" userId="129d4ce6-e715-4d33-b4c4-312f1656225b" providerId="ADAL" clId="{588B9DB1-5659-4DE1-805E-57B0F19426CD}" dt="2025-07-04T13:02:17.073" v="3122"/>
          <ac:spMkLst>
            <pc:docMk/>
            <pc:sldMk cId="3633522362" sldId="2147470270"/>
            <ac:spMk id="39" creationId="{18306D80-0B90-EBFA-0751-622210F39DD1}"/>
          </ac:spMkLst>
        </pc:spChg>
        <pc:spChg chg="mod">
          <ac:chgData name="Alexandre Zanetti de Almeida" userId="129d4ce6-e715-4d33-b4c4-312f1656225b" providerId="ADAL" clId="{588B9DB1-5659-4DE1-805E-57B0F19426CD}" dt="2025-07-04T13:02:17.073" v="3122"/>
          <ac:spMkLst>
            <pc:docMk/>
            <pc:sldMk cId="3633522362" sldId="2147470270"/>
            <ac:spMk id="40" creationId="{AFAB7DE9-DF63-A241-6EA1-EC4F0685E525}"/>
          </ac:spMkLst>
        </pc:spChg>
        <pc:spChg chg="mod">
          <ac:chgData name="Alexandre Zanetti de Almeida" userId="129d4ce6-e715-4d33-b4c4-312f1656225b" providerId="ADAL" clId="{588B9DB1-5659-4DE1-805E-57B0F19426CD}" dt="2025-07-04T13:02:22.444" v="3125"/>
          <ac:spMkLst>
            <pc:docMk/>
            <pc:sldMk cId="3633522362" sldId="2147470270"/>
            <ac:spMk id="43" creationId="{C213E361-E14D-2596-A6DE-0B1140E1484F}"/>
          </ac:spMkLst>
        </pc:spChg>
        <pc:spChg chg="mod">
          <ac:chgData name="Alexandre Zanetti de Almeida" userId="129d4ce6-e715-4d33-b4c4-312f1656225b" providerId="ADAL" clId="{588B9DB1-5659-4DE1-805E-57B0F19426CD}" dt="2025-07-04T13:02:22.444" v="3125"/>
          <ac:spMkLst>
            <pc:docMk/>
            <pc:sldMk cId="3633522362" sldId="2147470270"/>
            <ac:spMk id="45" creationId="{B8E9246F-38EE-0E5C-7E6A-616BA356516D}"/>
          </ac:spMkLst>
        </pc:spChg>
        <pc:spChg chg="mod">
          <ac:chgData name="Alexandre Zanetti de Almeida" userId="129d4ce6-e715-4d33-b4c4-312f1656225b" providerId="ADAL" clId="{588B9DB1-5659-4DE1-805E-57B0F19426CD}" dt="2025-07-04T13:03:22.759" v="3161"/>
          <ac:spMkLst>
            <pc:docMk/>
            <pc:sldMk cId="3633522362" sldId="2147470270"/>
            <ac:spMk id="46" creationId="{DDC94FE5-BC01-0010-A2B4-9C05814E63A0}"/>
          </ac:spMkLst>
        </pc:spChg>
        <pc:spChg chg="mod">
          <ac:chgData name="Alexandre Zanetti de Almeida" userId="129d4ce6-e715-4d33-b4c4-312f1656225b" providerId="ADAL" clId="{588B9DB1-5659-4DE1-805E-57B0F19426CD}" dt="2025-07-04T13:02:22.444" v="3125"/>
          <ac:spMkLst>
            <pc:docMk/>
            <pc:sldMk cId="3633522362" sldId="2147470270"/>
            <ac:spMk id="51" creationId="{0953E87E-10DB-3769-2FAF-8DADB9C51C83}"/>
          </ac:spMkLst>
        </pc:spChg>
        <pc:spChg chg="mod">
          <ac:chgData name="Alexandre Zanetti de Almeida" userId="129d4ce6-e715-4d33-b4c4-312f1656225b" providerId="ADAL" clId="{588B9DB1-5659-4DE1-805E-57B0F19426CD}" dt="2025-07-04T13:02:22.444" v="3125"/>
          <ac:spMkLst>
            <pc:docMk/>
            <pc:sldMk cId="3633522362" sldId="2147470270"/>
            <ac:spMk id="52" creationId="{E529218D-9FD9-0AE8-03BF-852E3FF14F3F}"/>
          </ac:spMkLst>
        </pc:spChg>
        <pc:spChg chg="mod">
          <ac:chgData name="Alexandre Zanetti de Almeida" userId="129d4ce6-e715-4d33-b4c4-312f1656225b" providerId="ADAL" clId="{588B9DB1-5659-4DE1-805E-57B0F19426CD}" dt="2025-07-04T13:02:22.444" v="3125"/>
          <ac:spMkLst>
            <pc:docMk/>
            <pc:sldMk cId="3633522362" sldId="2147470270"/>
            <ac:spMk id="53" creationId="{07214AC9-7A62-0E99-0B93-C03F252D5235}"/>
          </ac:spMkLst>
        </pc:spChg>
        <pc:spChg chg="mod">
          <ac:chgData name="Alexandre Zanetti de Almeida" userId="129d4ce6-e715-4d33-b4c4-312f1656225b" providerId="ADAL" clId="{588B9DB1-5659-4DE1-805E-57B0F19426CD}" dt="2025-07-04T13:02:22.444" v="3125"/>
          <ac:spMkLst>
            <pc:docMk/>
            <pc:sldMk cId="3633522362" sldId="2147470270"/>
            <ac:spMk id="54" creationId="{55455703-086F-3370-53B4-5EC75A908679}"/>
          </ac:spMkLst>
        </pc:spChg>
        <pc:spChg chg="mod">
          <ac:chgData name="Alexandre Zanetti de Almeida" userId="129d4ce6-e715-4d33-b4c4-312f1656225b" providerId="ADAL" clId="{588B9DB1-5659-4DE1-805E-57B0F19426CD}" dt="2025-07-04T13:02:22.444" v="3125"/>
          <ac:spMkLst>
            <pc:docMk/>
            <pc:sldMk cId="3633522362" sldId="2147470270"/>
            <ac:spMk id="62" creationId="{BA5F2D05-E513-B20A-D0C9-68EF81977E33}"/>
          </ac:spMkLst>
        </pc:spChg>
        <pc:spChg chg="mod">
          <ac:chgData name="Alexandre Zanetti de Almeida" userId="129d4ce6-e715-4d33-b4c4-312f1656225b" providerId="ADAL" clId="{588B9DB1-5659-4DE1-805E-57B0F19426CD}" dt="2025-07-04T13:02:22.444" v="3125"/>
          <ac:spMkLst>
            <pc:docMk/>
            <pc:sldMk cId="3633522362" sldId="2147470270"/>
            <ac:spMk id="67" creationId="{63539E79-6C9C-D2F6-3DCB-79E97C01E222}"/>
          </ac:spMkLst>
        </pc:spChg>
        <pc:spChg chg="mod">
          <ac:chgData name="Alexandre Zanetti de Almeida" userId="129d4ce6-e715-4d33-b4c4-312f1656225b" providerId="ADAL" clId="{588B9DB1-5659-4DE1-805E-57B0F19426CD}" dt="2025-07-04T13:02:22.444" v="3125"/>
          <ac:spMkLst>
            <pc:docMk/>
            <pc:sldMk cId="3633522362" sldId="2147470270"/>
            <ac:spMk id="70" creationId="{51546D30-3F3D-38DB-8698-CB88A0999ADA}"/>
          </ac:spMkLst>
        </pc:spChg>
        <pc:spChg chg="mod">
          <ac:chgData name="Alexandre Zanetti de Almeida" userId="129d4ce6-e715-4d33-b4c4-312f1656225b" providerId="ADAL" clId="{588B9DB1-5659-4DE1-805E-57B0F19426CD}" dt="2025-07-04T13:02:22.444" v="3125"/>
          <ac:spMkLst>
            <pc:docMk/>
            <pc:sldMk cId="3633522362" sldId="2147470270"/>
            <ac:spMk id="73" creationId="{5CE6A90B-E3DB-FE18-A1D1-F55F41584267}"/>
          </ac:spMkLst>
        </pc:spChg>
        <pc:grpChg chg="add del">
          <ac:chgData name="Alexandre Zanetti de Almeida" userId="129d4ce6-e715-4d33-b4c4-312f1656225b" providerId="ADAL" clId="{588B9DB1-5659-4DE1-805E-57B0F19426CD}" dt="2025-07-04T13:02:22.116" v="3124" actId="478"/>
          <ac:grpSpMkLst>
            <pc:docMk/>
            <pc:sldMk cId="3633522362" sldId="2147470270"/>
            <ac:grpSpMk id="76" creationId="{EC60195F-6B43-439F-B135-6787DBD3B65A}"/>
          </ac:grpSpMkLst>
        </pc:grpChg>
      </pc:sldChg>
      <pc:sldChg chg="addSp delSp modSp add mod">
        <pc:chgData name="Alexandre Zanetti de Almeida" userId="129d4ce6-e715-4d33-b4c4-312f1656225b" providerId="ADAL" clId="{588B9DB1-5659-4DE1-805E-57B0F19426CD}" dt="2025-07-04T13:04:12.512" v="3168" actId="6549"/>
        <pc:sldMkLst>
          <pc:docMk/>
          <pc:sldMk cId="3765056613" sldId="2147470271"/>
        </pc:sldMkLst>
        <pc:spChg chg="mod">
          <ac:chgData name="Alexandre Zanetti de Almeida" userId="129d4ce6-e715-4d33-b4c4-312f1656225b" providerId="ADAL" clId="{588B9DB1-5659-4DE1-805E-57B0F19426CD}" dt="2025-07-04T13:04:12.512" v="3168" actId="6549"/>
          <ac:spMkLst>
            <pc:docMk/>
            <pc:sldMk cId="3765056613" sldId="2147470271"/>
            <ac:spMk id="24" creationId="{CF81BF84-662F-21C3-89CF-772E36C2DB0F}"/>
          </ac:spMkLst>
        </pc:spChg>
        <pc:spChg chg="mod">
          <ac:chgData name="Alexandre Zanetti de Almeida" userId="129d4ce6-e715-4d33-b4c4-312f1656225b" providerId="ADAL" clId="{588B9DB1-5659-4DE1-805E-57B0F19426CD}" dt="2025-07-04T13:02:28.982" v="3127"/>
          <ac:spMkLst>
            <pc:docMk/>
            <pc:sldMk cId="3765056613" sldId="2147470271"/>
            <ac:spMk id="26" creationId="{4A21D24F-F8AC-F3A2-BE25-32698267985D}"/>
          </ac:spMkLst>
        </pc:spChg>
        <pc:spChg chg="mod">
          <ac:chgData name="Alexandre Zanetti de Almeida" userId="129d4ce6-e715-4d33-b4c4-312f1656225b" providerId="ADAL" clId="{588B9DB1-5659-4DE1-805E-57B0F19426CD}" dt="2025-07-04T13:02:28.982" v="3127"/>
          <ac:spMkLst>
            <pc:docMk/>
            <pc:sldMk cId="3765056613" sldId="2147470271"/>
            <ac:spMk id="27" creationId="{3EAE0094-130F-8C58-ABC8-4D64A9DBA7FA}"/>
          </ac:spMkLst>
        </pc:spChg>
        <pc:spChg chg="mod">
          <ac:chgData name="Alexandre Zanetti de Almeida" userId="129d4ce6-e715-4d33-b4c4-312f1656225b" providerId="ADAL" clId="{588B9DB1-5659-4DE1-805E-57B0F19426CD}" dt="2025-07-04T13:03:37.348" v="3162"/>
          <ac:spMkLst>
            <pc:docMk/>
            <pc:sldMk cId="3765056613" sldId="2147470271"/>
            <ac:spMk id="29" creationId="{53B40E4C-25D7-7610-9EE5-9AF7A963AACB}"/>
          </ac:spMkLst>
        </pc:spChg>
        <pc:spChg chg="mod">
          <ac:chgData name="Alexandre Zanetti de Almeida" userId="129d4ce6-e715-4d33-b4c4-312f1656225b" providerId="ADAL" clId="{588B9DB1-5659-4DE1-805E-57B0F19426CD}" dt="2025-07-04T13:02:28.982" v="3127"/>
          <ac:spMkLst>
            <pc:docMk/>
            <pc:sldMk cId="3765056613" sldId="2147470271"/>
            <ac:spMk id="31" creationId="{9279FBA2-9B70-A6E0-82CC-98CE83E61F7A}"/>
          </ac:spMkLst>
        </pc:spChg>
        <pc:spChg chg="mod">
          <ac:chgData name="Alexandre Zanetti de Almeida" userId="129d4ce6-e715-4d33-b4c4-312f1656225b" providerId="ADAL" clId="{588B9DB1-5659-4DE1-805E-57B0F19426CD}" dt="2025-07-04T13:02:28.982" v="3127"/>
          <ac:spMkLst>
            <pc:docMk/>
            <pc:sldMk cId="3765056613" sldId="2147470271"/>
            <ac:spMk id="35" creationId="{647302DC-9C66-F868-0EE9-97C90445F58F}"/>
          </ac:spMkLst>
        </pc:spChg>
        <pc:spChg chg="mod">
          <ac:chgData name="Alexandre Zanetti de Almeida" userId="129d4ce6-e715-4d33-b4c4-312f1656225b" providerId="ADAL" clId="{588B9DB1-5659-4DE1-805E-57B0F19426CD}" dt="2025-07-04T13:02:28.982" v="3127"/>
          <ac:spMkLst>
            <pc:docMk/>
            <pc:sldMk cId="3765056613" sldId="2147470271"/>
            <ac:spMk id="42" creationId="{1F3DE357-7632-05AF-5386-8FA91219FFA6}"/>
          </ac:spMkLst>
        </pc:spChg>
        <pc:spChg chg="mod">
          <ac:chgData name="Alexandre Zanetti de Almeida" userId="129d4ce6-e715-4d33-b4c4-312f1656225b" providerId="ADAL" clId="{588B9DB1-5659-4DE1-805E-57B0F19426CD}" dt="2025-07-04T13:02:28.982" v="3127"/>
          <ac:spMkLst>
            <pc:docMk/>
            <pc:sldMk cId="3765056613" sldId="2147470271"/>
            <ac:spMk id="44" creationId="{7B020AAF-C82D-7806-D9A2-8AC105B373F2}"/>
          </ac:spMkLst>
        </pc:spChg>
        <pc:spChg chg="mod">
          <ac:chgData name="Alexandre Zanetti de Almeida" userId="129d4ce6-e715-4d33-b4c4-312f1656225b" providerId="ADAL" clId="{588B9DB1-5659-4DE1-805E-57B0F19426CD}" dt="2025-07-04T13:02:28.982" v="3127"/>
          <ac:spMkLst>
            <pc:docMk/>
            <pc:sldMk cId="3765056613" sldId="2147470271"/>
            <ac:spMk id="46" creationId="{AFE3736F-0FD3-BD85-808E-7E4CAEA9C146}"/>
          </ac:spMkLst>
        </pc:spChg>
        <pc:spChg chg="mod">
          <ac:chgData name="Alexandre Zanetti de Almeida" userId="129d4ce6-e715-4d33-b4c4-312f1656225b" providerId="ADAL" clId="{588B9DB1-5659-4DE1-805E-57B0F19426CD}" dt="2025-07-04T13:02:28.982" v="3127"/>
          <ac:spMkLst>
            <pc:docMk/>
            <pc:sldMk cId="3765056613" sldId="2147470271"/>
            <ac:spMk id="54" creationId="{AE73D30C-593D-AC00-F49D-EA9B1DDAC7D3}"/>
          </ac:spMkLst>
        </pc:spChg>
        <pc:spChg chg="mod">
          <ac:chgData name="Alexandre Zanetti de Almeida" userId="129d4ce6-e715-4d33-b4c4-312f1656225b" providerId="ADAL" clId="{588B9DB1-5659-4DE1-805E-57B0F19426CD}" dt="2025-07-04T13:02:28.982" v="3127"/>
          <ac:spMkLst>
            <pc:docMk/>
            <pc:sldMk cId="3765056613" sldId="2147470271"/>
            <ac:spMk id="57" creationId="{FF483BD8-72C0-A1D9-3196-BD6AA8A5F6AC}"/>
          </ac:spMkLst>
        </pc:spChg>
        <pc:spChg chg="mod">
          <ac:chgData name="Alexandre Zanetti de Almeida" userId="129d4ce6-e715-4d33-b4c4-312f1656225b" providerId="ADAL" clId="{588B9DB1-5659-4DE1-805E-57B0F19426CD}" dt="2025-07-04T13:02:28.982" v="3127"/>
          <ac:spMkLst>
            <pc:docMk/>
            <pc:sldMk cId="3765056613" sldId="2147470271"/>
            <ac:spMk id="60" creationId="{4CAB1B5A-999E-5E6A-736E-30C334E51737}"/>
          </ac:spMkLst>
        </pc:spChg>
        <pc:grpChg chg="del">
          <ac:chgData name="Alexandre Zanetti de Almeida" userId="129d4ce6-e715-4d33-b4c4-312f1656225b" providerId="ADAL" clId="{588B9DB1-5659-4DE1-805E-57B0F19426CD}" dt="2025-07-04T13:02:28.382" v="3126" actId="478"/>
          <ac:grpSpMkLst>
            <pc:docMk/>
            <pc:sldMk cId="3765056613" sldId="2147470271"/>
            <ac:grpSpMk id="2" creationId="{4EBBF886-A198-FBC2-E796-49DB2F2F1EA2}"/>
          </ac:grpSpMkLst>
        </pc:grpChg>
      </pc:sldChg>
      <pc:sldChg chg="addSp delSp modSp add mod">
        <pc:chgData name="Alexandre Zanetti de Almeida" userId="129d4ce6-e715-4d33-b4c4-312f1656225b" providerId="ADAL" clId="{588B9DB1-5659-4DE1-805E-57B0F19426CD}" dt="2025-07-04T13:04:05.926" v="3166" actId="6549"/>
        <pc:sldMkLst>
          <pc:docMk/>
          <pc:sldMk cId="1208368132" sldId="2147470272"/>
        </pc:sldMkLst>
        <pc:spChg chg="mod">
          <ac:chgData name="Alexandre Zanetti de Almeida" userId="129d4ce6-e715-4d33-b4c4-312f1656225b" providerId="ADAL" clId="{588B9DB1-5659-4DE1-805E-57B0F19426CD}" dt="2025-07-04T13:04:05.926" v="3166" actId="6549"/>
          <ac:spMkLst>
            <pc:docMk/>
            <pc:sldMk cId="1208368132" sldId="2147470272"/>
            <ac:spMk id="24" creationId="{355413C1-B0D7-8AE7-CF73-FD986BF2B363}"/>
          </ac:spMkLst>
        </pc:spChg>
        <pc:spChg chg="mod">
          <ac:chgData name="Alexandre Zanetti de Almeida" userId="129d4ce6-e715-4d33-b4c4-312f1656225b" providerId="ADAL" clId="{588B9DB1-5659-4DE1-805E-57B0F19426CD}" dt="2025-07-04T13:02:34.721" v="3129"/>
          <ac:spMkLst>
            <pc:docMk/>
            <pc:sldMk cId="1208368132" sldId="2147470272"/>
            <ac:spMk id="26" creationId="{8832E10A-EA5D-60F4-8EE2-BB8350255C4C}"/>
          </ac:spMkLst>
        </pc:spChg>
        <pc:spChg chg="mod">
          <ac:chgData name="Alexandre Zanetti de Almeida" userId="129d4ce6-e715-4d33-b4c4-312f1656225b" providerId="ADAL" clId="{588B9DB1-5659-4DE1-805E-57B0F19426CD}" dt="2025-07-04T13:02:34.721" v="3129"/>
          <ac:spMkLst>
            <pc:docMk/>
            <pc:sldMk cId="1208368132" sldId="2147470272"/>
            <ac:spMk id="27" creationId="{22B20BCF-ADD4-13C6-41AA-EC368BF95E0B}"/>
          </ac:spMkLst>
        </pc:spChg>
        <pc:spChg chg="mod">
          <ac:chgData name="Alexandre Zanetti de Almeida" userId="129d4ce6-e715-4d33-b4c4-312f1656225b" providerId="ADAL" clId="{588B9DB1-5659-4DE1-805E-57B0F19426CD}" dt="2025-07-04T13:02:34.721" v="3129"/>
          <ac:spMkLst>
            <pc:docMk/>
            <pc:sldMk cId="1208368132" sldId="2147470272"/>
            <ac:spMk id="28" creationId="{B2BEDB60-A50F-1D81-1973-D09E6DF1A8B4}"/>
          </ac:spMkLst>
        </pc:spChg>
        <pc:spChg chg="mod">
          <ac:chgData name="Alexandre Zanetti de Almeida" userId="129d4ce6-e715-4d33-b4c4-312f1656225b" providerId="ADAL" clId="{588B9DB1-5659-4DE1-805E-57B0F19426CD}" dt="2025-07-04T13:02:34.721" v="3129"/>
          <ac:spMkLst>
            <pc:docMk/>
            <pc:sldMk cId="1208368132" sldId="2147470272"/>
            <ac:spMk id="29" creationId="{0BEB8AA8-C8F7-3B38-C58C-75CB5AE33F40}"/>
          </ac:spMkLst>
        </pc:spChg>
        <pc:spChg chg="mod">
          <ac:chgData name="Alexandre Zanetti de Almeida" userId="129d4ce6-e715-4d33-b4c4-312f1656225b" providerId="ADAL" clId="{588B9DB1-5659-4DE1-805E-57B0F19426CD}" dt="2025-07-04T13:02:34.721" v="3129"/>
          <ac:spMkLst>
            <pc:docMk/>
            <pc:sldMk cId="1208368132" sldId="2147470272"/>
            <ac:spMk id="37" creationId="{AFF55BB0-2BA9-644D-190A-A0F2FCC6A2D8}"/>
          </ac:spMkLst>
        </pc:spChg>
        <pc:spChg chg="mod">
          <ac:chgData name="Alexandre Zanetti de Almeida" userId="129d4ce6-e715-4d33-b4c4-312f1656225b" providerId="ADAL" clId="{588B9DB1-5659-4DE1-805E-57B0F19426CD}" dt="2025-07-04T13:02:34.721" v="3129"/>
          <ac:spMkLst>
            <pc:docMk/>
            <pc:sldMk cId="1208368132" sldId="2147470272"/>
            <ac:spMk id="38" creationId="{795D76F5-41CE-D4CB-C11B-7DF7DC306845}"/>
          </ac:spMkLst>
        </pc:spChg>
        <pc:spChg chg="mod">
          <ac:chgData name="Alexandre Zanetti de Almeida" userId="129d4ce6-e715-4d33-b4c4-312f1656225b" providerId="ADAL" clId="{588B9DB1-5659-4DE1-805E-57B0F19426CD}" dt="2025-07-04T13:02:34.721" v="3129"/>
          <ac:spMkLst>
            <pc:docMk/>
            <pc:sldMk cId="1208368132" sldId="2147470272"/>
            <ac:spMk id="42" creationId="{2A9146D8-AB42-6A31-BA1B-530F49B1E99F}"/>
          </ac:spMkLst>
        </pc:spChg>
        <pc:spChg chg="mod">
          <ac:chgData name="Alexandre Zanetti de Almeida" userId="129d4ce6-e715-4d33-b4c4-312f1656225b" providerId="ADAL" clId="{588B9DB1-5659-4DE1-805E-57B0F19426CD}" dt="2025-07-04T13:02:34.721" v="3129"/>
          <ac:spMkLst>
            <pc:docMk/>
            <pc:sldMk cId="1208368132" sldId="2147470272"/>
            <ac:spMk id="47" creationId="{082D671D-89BD-AE35-9011-39B74A1E90C1}"/>
          </ac:spMkLst>
        </pc:spChg>
        <pc:spChg chg="mod">
          <ac:chgData name="Alexandre Zanetti de Almeida" userId="129d4ce6-e715-4d33-b4c4-312f1656225b" providerId="ADAL" clId="{588B9DB1-5659-4DE1-805E-57B0F19426CD}" dt="2025-07-04T13:02:34.721" v="3129"/>
          <ac:spMkLst>
            <pc:docMk/>
            <pc:sldMk cId="1208368132" sldId="2147470272"/>
            <ac:spMk id="57" creationId="{DAB98467-50A6-225A-6173-B5DAE3697513}"/>
          </ac:spMkLst>
        </pc:spChg>
        <pc:spChg chg="mod">
          <ac:chgData name="Alexandre Zanetti de Almeida" userId="129d4ce6-e715-4d33-b4c4-312f1656225b" providerId="ADAL" clId="{588B9DB1-5659-4DE1-805E-57B0F19426CD}" dt="2025-07-04T13:02:34.721" v="3129"/>
          <ac:spMkLst>
            <pc:docMk/>
            <pc:sldMk cId="1208368132" sldId="2147470272"/>
            <ac:spMk id="60" creationId="{B9A589C5-632B-FF54-DC78-793FC515C34A}"/>
          </ac:spMkLst>
        </pc:spChg>
        <pc:grpChg chg="del">
          <ac:chgData name="Alexandre Zanetti de Almeida" userId="129d4ce6-e715-4d33-b4c4-312f1656225b" providerId="ADAL" clId="{588B9DB1-5659-4DE1-805E-57B0F19426CD}" dt="2025-07-04T13:02:34.281" v="3128" actId="478"/>
          <ac:grpSpMkLst>
            <pc:docMk/>
            <pc:sldMk cId="1208368132" sldId="2147470272"/>
            <ac:grpSpMk id="2" creationId="{8280D1F3-CED4-0031-4E6F-4C76BA3CC6A4}"/>
          </ac:grpSpMkLst>
        </pc:grpChg>
      </pc:sldChg>
      <pc:sldChg chg="addSp delSp modSp add mod">
        <pc:chgData name="Alexandre Zanetti de Almeida" userId="129d4ce6-e715-4d33-b4c4-312f1656225b" providerId="ADAL" clId="{588B9DB1-5659-4DE1-805E-57B0F19426CD}" dt="2025-07-04T13:02:39.913" v="3131"/>
        <pc:sldMkLst>
          <pc:docMk/>
          <pc:sldMk cId="1486257267" sldId="2147470273"/>
        </pc:sldMkLst>
        <pc:spChg chg="mod">
          <ac:chgData name="Alexandre Zanetti de Almeida" userId="129d4ce6-e715-4d33-b4c4-312f1656225b" providerId="ADAL" clId="{588B9DB1-5659-4DE1-805E-57B0F19426CD}" dt="2025-07-04T13:02:39.913" v="3131"/>
          <ac:spMkLst>
            <pc:docMk/>
            <pc:sldMk cId="1486257267" sldId="2147470273"/>
            <ac:spMk id="26" creationId="{61FFF6E8-36D6-1605-CBFD-03648BC3E026}"/>
          </ac:spMkLst>
        </pc:spChg>
        <pc:spChg chg="mod">
          <ac:chgData name="Alexandre Zanetti de Almeida" userId="129d4ce6-e715-4d33-b4c4-312f1656225b" providerId="ADAL" clId="{588B9DB1-5659-4DE1-805E-57B0F19426CD}" dt="2025-07-04T13:02:39.913" v="3131"/>
          <ac:spMkLst>
            <pc:docMk/>
            <pc:sldMk cId="1486257267" sldId="2147470273"/>
            <ac:spMk id="28" creationId="{3FEBD4A8-1CD3-117B-51A1-9938A7EF4006}"/>
          </ac:spMkLst>
        </pc:spChg>
        <pc:spChg chg="mod">
          <ac:chgData name="Alexandre Zanetti de Almeida" userId="129d4ce6-e715-4d33-b4c4-312f1656225b" providerId="ADAL" clId="{588B9DB1-5659-4DE1-805E-57B0F19426CD}" dt="2025-07-04T13:02:39.913" v="3131"/>
          <ac:spMkLst>
            <pc:docMk/>
            <pc:sldMk cId="1486257267" sldId="2147470273"/>
            <ac:spMk id="34" creationId="{D4473AB3-AC91-47AA-4E7D-25786348ABC5}"/>
          </ac:spMkLst>
        </pc:spChg>
        <pc:spChg chg="mod">
          <ac:chgData name="Alexandre Zanetti de Almeida" userId="129d4ce6-e715-4d33-b4c4-312f1656225b" providerId="ADAL" clId="{588B9DB1-5659-4DE1-805E-57B0F19426CD}" dt="2025-07-04T13:02:39.913" v="3131"/>
          <ac:spMkLst>
            <pc:docMk/>
            <pc:sldMk cId="1486257267" sldId="2147470273"/>
            <ac:spMk id="38" creationId="{E64B8791-696C-76A5-B857-B9715D7EDD71}"/>
          </ac:spMkLst>
        </pc:spChg>
        <pc:spChg chg="mod">
          <ac:chgData name="Alexandre Zanetti de Almeida" userId="129d4ce6-e715-4d33-b4c4-312f1656225b" providerId="ADAL" clId="{588B9DB1-5659-4DE1-805E-57B0F19426CD}" dt="2025-07-04T13:02:39.913" v="3131"/>
          <ac:spMkLst>
            <pc:docMk/>
            <pc:sldMk cId="1486257267" sldId="2147470273"/>
            <ac:spMk id="42" creationId="{BE871D68-1213-F429-E6B2-2AE01F41FBCE}"/>
          </ac:spMkLst>
        </pc:spChg>
        <pc:spChg chg="mod">
          <ac:chgData name="Alexandre Zanetti de Almeida" userId="129d4ce6-e715-4d33-b4c4-312f1656225b" providerId="ADAL" clId="{588B9DB1-5659-4DE1-805E-57B0F19426CD}" dt="2025-07-04T13:02:39.913" v="3131"/>
          <ac:spMkLst>
            <pc:docMk/>
            <pc:sldMk cId="1486257267" sldId="2147470273"/>
            <ac:spMk id="44" creationId="{ED990495-C31B-9499-73BA-BA6C9BF06937}"/>
          </ac:spMkLst>
        </pc:spChg>
        <pc:spChg chg="mod">
          <ac:chgData name="Alexandre Zanetti de Almeida" userId="129d4ce6-e715-4d33-b4c4-312f1656225b" providerId="ADAL" clId="{588B9DB1-5659-4DE1-805E-57B0F19426CD}" dt="2025-07-04T13:02:39.913" v="3131"/>
          <ac:spMkLst>
            <pc:docMk/>
            <pc:sldMk cId="1486257267" sldId="2147470273"/>
            <ac:spMk id="46" creationId="{A52387D6-9EB3-99DB-9B3E-859FDCAA52C8}"/>
          </ac:spMkLst>
        </pc:spChg>
        <pc:spChg chg="mod">
          <ac:chgData name="Alexandre Zanetti de Almeida" userId="129d4ce6-e715-4d33-b4c4-312f1656225b" providerId="ADAL" clId="{588B9DB1-5659-4DE1-805E-57B0F19426CD}" dt="2025-07-04T13:02:39.913" v="3131"/>
          <ac:spMkLst>
            <pc:docMk/>
            <pc:sldMk cId="1486257267" sldId="2147470273"/>
            <ac:spMk id="47" creationId="{C68AEA82-1653-134E-32A8-E9CF32010266}"/>
          </ac:spMkLst>
        </pc:spChg>
        <pc:spChg chg="mod">
          <ac:chgData name="Alexandre Zanetti de Almeida" userId="129d4ce6-e715-4d33-b4c4-312f1656225b" providerId="ADAL" clId="{588B9DB1-5659-4DE1-805E-57B0F19426CD}" dt="2025-07-04T13:02:39.913" v="3131"/>
          <ac:spMkLst>
            <pc:docMk/>
            <pc:sldMk cId="1486257267" sldId="2147470273"/>
            <ac:spMk id="54" creationId="{9F87FF5D-ADDB-1958-26B4-D2001ACC59AA}"/>
          </ac:spMkLst>
        </pc:spChg>
        <pc:spChg chg="mod">
          <ac:chgData name="Alexandre Zanetti de Almeida" userId="129d4ce6-e715-4d33-b4c4-312f1656225b" providerId="ADAL" clId="{588B9DB1-5659-4DE1-805E-57B0F19426CD}" dt="2025-07-04T13:02:39.913" v="3131"/>
          <ac:spMkLst>
            <pc:docMk/>
            <pc:sldMk cId="1486257267" sldId="2147470273"/>
            <ac:spMk id="55" creationId="{F17A5D8C-363A-4834-1C9C-1923FF3478E2}"/>
          </ac:spMkLst>
        </pc:spChg>
        <pc:grpChg chg="del">
          <ac:chgData name="Alexandre Zanetti de Almeida" userId="129d4ce6-e715-4d33-b4c4-312f1656225b" providerId="ADAL" clId="{588B9DB1-5659-4DE1-805E-57B0F19426CD}" dt="2025-07-04T13:02:39.489" v="3130" actId="478"/>
          <ac:grpSpMkLst>
            <pc:docMk/>
            <pc:sldMk cId="1486257267" sldId="2147470273"/>
            <ac:grpSpMk id="2" creationId="{53F20F15-BCA7-2233-FF60-984C116DB06A}"/>
          </ac:grpSpMkLst>
        </pc:grpChg>
      </pc:sldChg>
      <pc:sldChg chg="delSp add del setBg delDesignElem">
        <pc:chgData name="Alexandre Zanetti de Almeida" userId="129d4ce6-e715-4d33-b4c4-312f1656225b" providerId="ADAL" clId="{588B9DB1-5659-4DE1-805E-57B0F19426CD}" dt="2025-06-30T14:48:16.166" v="1889" actId="47"/>
        <pc:sldMkLst>
          <pc:docMk/>
          <pc:sldMk cId="1816411801" sldId="2147470296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5CDC89-5FE6-4B34-9A5D-1E08CFC37286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EEA83E-3FD9-45DF-9909-761FD3E0C43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91173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A829-EE25-924A-A042-A385156E74F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134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A829-EE25-924A-A042-A385156E74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3913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033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225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EA2B7A-6F32-7178-694C-235973298C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4260B06-0242-3870-2DA9-940B2F8CD2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A4491C7-1AFA-DB47-3818-28766B6841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D38970A-3E98-555B-992A-F605A4BE3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4281B37-251D-2ACB-4D2E-BDCC63D33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6195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BB5C74-5447-4FC8-E41B-FDDF4D79F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1A98CF0-C7DB-BCB5-28B1-149877868C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483D8D0-1A84-4100-8A76-69A1D6BB7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4C227D0-7D00-873A-90E4-1C56AAF587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D20D776-820A-884A-081C-72CEA3446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22749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276291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627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4023183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26668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749384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64834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370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D779B3C-3C2D-5F07-76E8-72E10A38E9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5972C9E-C0C5-45EF-1BF6-ACF5D50CFA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C2B988A-1510-9C84-2077-24A1BEDFA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8EA231A-014D-5468-EB7F-2EC80ECC7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B1C96B8-F2DE-DC98-1F19-13C39CA7A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9205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00601982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/Sub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6" y="1886663"/>
            <a:ext cx="5324696" cy="4296421"/>
          </a:xfrm>
          <a:prstGeom prst="rect">
            <a:avLst/>
          </a:prstGeom>
        </p:spPr>
        <p:txBody>
          <a:bodyPr lIns="91425" tIns="91425" rIns="45720" bIns="91425" anchor="t" anchorCtr="0">
            <a:normAutofit/>
          </a:bodyPr>
          <a:lstStyle>
            <a:lvl1pPr marL="290513" lvl="0" indent="-227013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7" y="833355"/>
            <a:ext cx="11585448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BE95FF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 – Key messag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44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hape 27">
            <a:extLst>
              <a:ext uri="{FF2B5EF4-FFF2-40B4-BE49-F238E27FC236}">
                <a16:creationId xmlns:a16="http://schemas.microsoft.com/office/drawing/2014/main" id="{28AAD0CA-B090-384F-92FD-7B8693F604A1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6526681" y="1868326"/>
            <a:ext cx="5324696" cy="429642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228595" lvl="0" indent="0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252EFE0E-B64D-FA4F-BF4E-C314CC7CAE3D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6300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+ images/icon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31"/>
          <p:cNvSpPr txBox="1">
            <a:spLocks noGrp="1"/>
          </p:cNvSpPr>
          <p:nvPr>
            <p:ph type="body" idx="1"/>
          </p:nvPr>
        </p:nvSpPr>
        <p:spPr>
          <a:xfrm>
            <a:off x="303207" y="3760327"/>
            <a:ext cx="3352606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3208" y="874419"/>
            <a:ext cx="3352606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5" y="7635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Shape 31">
            <a:extLst>
              <a:ext uri="{FF2B5EF4-FFF2-40B4-BE49-F238E27FC236}">
                <a16:creationId xmlns:a16="http://schemas.microsoft.com/office/drawing/2014/main" id="{9A83AEC6-A706-FC47-B198-2A14A976228C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4419695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502CF5C-C197-F04F-919F-9BA79BA4C85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19696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Shape 31">
            <a:extLst>
              <a:ext uri="{FF2B5EF4-FFF2-40B4-BE49-F238E27FC236}">
                <a16:creationId xmlns:a16="http://schemas.microsoft.com/office/drawing/2014/main" id="{A52F7FB9-02F3-194E-A37C-EC8FAADAD0F0}"/>
              </a:ext>
            </a:extLst>
          </p:cNvPr>
          <p:cNvSpPr txBox="1">
            <a:spLocks noGrp="1"/>
          </p:cNvSpPr>
          <p:nvPr>
            <p:ph type="body" idx="16"/>
          </p:nvPr>
        </p:nvSpPr>
        <p:spPr>
          <a:xfrm>
            <a:off x="8536186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0CA48F88-7C6A-2F45-AA71-3CE981A176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536187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1116AA7A-D917-A644-BB32-ABFD9BC8CCB8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029949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836783"/>
            <a:ext cx="11585575" cy="4504456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None/>
              <a:defRPr sz="18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6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606060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200" b="0" i="0">
                <a:solidFill>
                  <a:srgbClr val="0F62FE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91A20A0-C4C3-CB49-9FEF-69EAA14D2B2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83836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7" y="115902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A399282B-D1E2-2544-968D-AA887B7AFB50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9409219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CA4AA8C-43C4-0B4A-99CA-748F4EA26671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554272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85346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gradFill>
            <a:gsLst>
              <a:gs pos="34000">
                <a:srgbClr val="096BFE"/>
              </a:gs>
              <a:gs pos="79000">
                <a:srgbClr val="6F5496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374847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1BD229B-1CF3-B634-DA61-98432B0F3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01D83F6-E776-11B5-A667-1FE3BDD69B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FE03E50-F7AE-CD1C-E34F-961EF4D5DD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C0A92EA-B048-5524-9442-29F068C69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B16ADB-60DD-FF61-15E5-653C7196A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54040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71875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rgbClr val="6F549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37812133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8757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 txBox="1">
            <a:spLocks noGrp="1"/>
          </p:cNvSpPr>
          <p:nvPr>
            <p:ph type="subTitle" idx="1" hasCustomPrompt="1"/>
          </p:nvPr>
        </p:nvSpPr>
        <p:spPr>
          <a:xfrm>
            <a:off x="2879184" y="3679002"/>
            <a:ext cx="6904896" cy="10463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000000"/>
              </a:buClr>
              <a:buSzPct val="100000"/>
              <a:buNone/>
              <a:defRPr sz="2000" b="0" i="0" dirty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2pPr>
            <a:lvl3pPr lvl="2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3pPr>
            <a:lvl4pPr lvl="3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4pPr>
            <a:lvl5pPr lvl="4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5pPr>
            <a:lvl6pPr lvl="5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6pPr>
            <a:lvl7pPr lvl="6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7pPr>
            <a:lvl8pPr lvl="7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8pPr>
            <a:lvl9pPr lvl="8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ctrTitle" hasCustomPrompt="1"/>
          </p:nvPr>
        </p:nvSpPr>
        <p:spPr>
          <a:xfrm>
            <a:off x="2879185" y="2132602"/>
            <a:ext cx="5050399" cy="1546399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buSzPct val="100000"/>
              <a:defRPr sz="40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SzPct val="100000"/>
              <a:defRPr sz="4000"/>
            </a:lvl2pPr>
            <a:lvl3pPr lvl="2" rtl="0">
              <a:spcBef>
                <a:spcPts val="0"/>
              </a:spcBef>
              <a:buSzPct val="100000"/>
              <a:defRPr sz="4000"/>
            </a:lvl3pPr>
            <a:lvl4pPr lvl="3" rtl="0">
              <a:spcBef>
                <a:spcPts val="0"/>
              </a:spcBef>
              <a:buSzPct val="100000"/>
              <a:defRPr sz="4000"/>
            </a:lvl4pPr>
            <a:lvl5pPr lvl="4" rtl="0">
              <a:spcBef>
                <a:spcPts val="0"/>
              </a:spcBef>
              <a:buSzPct val="100000"/>
              <a:defRPr sz="4000"/>
            </a:lvl5pPr>
            <a:lvl6pPr lvl="5" rtl="0">
              <a:spcBef>
                <a:spcPts val="0"/>
              </a:spcBef>
              <a:buSzPct val="100000"/>
              <a:defRPr sz="4000"/>
            </a:lvl6pPr>
            <a:lvl7pPr lvl="6" rtl="0">
              <a:spcBef>
                <a:spcPts val="0"/>
              </a:spcBef>
              <a:buSzPct val="100000"/>
              <a:defRPr sz="4000"/>
            </a:lvl7pPr>
            <a:lvl8pPr lvl="7" rtl="0">
              <a:spcBef>
                <a:spcPts val="0"/>
              </a:spcBef>
              <a:buSzPct val="100000"/>
              <a:defRPr sz="4000"/>
            </a:lvl8pPr>
            <a:lvl9pPr lvl="8" rtl="0">
              <a:spcBef>
                <a:spcPts val="0"/>
              </a:spcBef>
              <a:buSzPct val="100000"/>
              <a:defRPr sz="4000"/>
            </a:lvl9pPr>
          </a:lstStyle>
          <a:p>
            <a:r>
              <a:rPr lang="en-US" dirty="0"/>
              <a:t>Transition Title</a:t>
            </a:r>
            <a:endParaRPr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9B2E7AD-0E0C-284D-85DA-223A30AE4F2C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00200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/>
          <p:cNvSpPr/>
          <p:nvPr userDrawn="1"/>
        </p:nvSpPr>
        <p:spPr>
          <a:xfrm>
            <a:off x="2020188" y="125288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9320964" y="465192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384972" y="4601125"/>
            <a:ext cx="658368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”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2060929" y="1188194"/>
            <a:ext cx="5768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12" name="Shape 19"/>
          <p:cNvSpPr txBox="1">
            <a:spLocks noGrp="1"/>
          </p:cNvSpPr>
          <p:nvPr>
            <p:ph type="body" idx="1" hasCustomPrompt="1"/>
          </p:nvPr>
        </p:nvSpPr>
        <p:spPr>
          <a:xfrm>
            <a:off x="2746647" y="1911252"/>
            <a:ext cx="6578400" cy="2740672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457189" lvl="0" indent="-457189" algn="ctr" rtl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3200" i="1">
                <a:solidFill>
                  <a:srgbClr val="606060"/>
                </a:solidFill>
                <a:latin typeface="Lora"/>
                <a:ea typeface="Lora"/>
                <a:cs typeface="Lora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Quotation Text</a:t>
            </a:r>
            <a:endParaRPr dirty="0"/>
          </a:p>
        </p:txBody>
      </p:sp>
      <p:sp>
        <p:nvSpPr>
          <p:cNvPr id="19" name="Shape 19"/>
          <p:cNvSpPr txBox="1">
            <a:spLocks noGrp="1"/>
          </p:cNvSpPr>
          <p:nvPr>
            <p:ph type="body" idx="10" hasCustomPrompt="1"/>
          </p:nvPr>
        </p:nvSpPr>
        <p:spPr>
          <a:xfrm>
            <a:off x="4634951" y="4651423"/>
            <a:ext cx="2785731" cy="1018384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342891" lvl="0" indent="-342891" algn="ctr" rtl="0">
              <a:spcBef>
                <a:spcPts val="0"/>
              </a:spcBef>
              <a:buSzPct val="100000"/>
              <a:buFont typeface="Lora"/>
              <a:buNone/>
              <a:defRPr sz="2400" b="0" i="0">
                <a:solidFill>
                  <a:srgbClr val="606060"/>
                </a:solidFill>
                <a:latin typeface="IBM Plex Sans Medium" charset="0"/>
                <a:ea typeface="IBM Plex Sans Medium" charset="0"/>
                <a:cs typeface="IBM Plex Sans Medium" charset="0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- John Doe</a:t>
            </a:r>
            <a:endParaRPr dirty="0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24833B-3FDE-0646-BA4C-C77C5B7512D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692091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ubtitle + Bullets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1833613"/>
            <a:ext cx="11585575" cy="353007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457189" lvl="0" indent="-457189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FFCD00"/>
              </a:buClr>
              <a:buSzPct val="100000"/>
              <a:buFont typeface="Quattrocento Sans"/>
              <a:defRPr sz="2667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8" y="833355"/>
            <a:ext cx="7216775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177ED3A2-748C-6945-9927-CB2ED4B3F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855202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/>
          <p:cNvSpPr/>
          <p:nvPr userDrawn="1"/>
        </p:nvSpPr>
        <p:spPr>
          <a:xfrm>
            <a:off x="659834" y="1246204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68200" y="1282164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665376" y="2797751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4" name="Oval 23"/>
          <p:cNvSpPr/>
          <p:nvPr userDrawn="1"/>
        </p:nvSpPr>
        <p:spPr>
          <a:xfrm>
            <a:off x="659834" y="4443008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768412" y="28337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447896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27" name="Shape 31"/>
          <p:cNvSpPr txBox="1">
            <a:spLocks noGrp="1"/>
          </p:cNvSpPr>
          <p:nvPr>
            <p:ph type="body" idx="1"/>
          </p:nvPr>
        </p:nvSpPr>
        <p:spPr>
          <a:xfrm>
            <a:off x="1476510" y="1732307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Shape 31"/>
          <p:cNvSpPr txBox="1">
            <a:spLocks noGrp="1"/>
          </p:cNvSpPr>
          <p:nvPr>
            <p:ph type="body" idx="11"/>
          </p:nvPr>
        </p:nvSpPr>
        <p:spPr>
          <a:xfrm>
            <a:off x="1476510" y="3288065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Shape 31"/>
          <p:cNvSpPr txBox="1">
            <a:spLocks noGrp="1"/>
          </p:cNvSpPr>
          <p:nvPr>
            <p:ph type="body" idx="34"/>
          </p:nvPr>
        </p:nvSpPr>
        <p:spPr>
          <a:xfrm>
            <a:off x="1476510" y="4927483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Shape 31"/>
          <p:cNvSpPr txBox="1">
            <a:spLocks noGrp="1"/>
          </p:cNvSpPr>
          <p:nvPr>
            <p:ph type="body" idx="13" hasCustomPrompt="1"/>
          </p:nvPr>
        </p:nvSpPr>
        <p:spPr>
          <a:xfrm>
            <a:off x="1476509" y="1258787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1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1476509" y="2810333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2" name="Shape 31"/>
          <p:cNvSpPr txBox="1">
            <a:spLocks noGrp="1"/>
          </p:cNvSpPr>
          <p:nvPr>
            <p:ph type="body" idx="15" hasCustomPrompt="1"/>
          </p:nvPr>
        </p:nvSpPr>
        <p:spPr>
          <a:xfrm>
            <a:off x="1476509" y="4455590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82676189-B55D-BA46-9B0A-E263F4CA39C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55650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/>
          <p:cNvSpPr/>
          <p:nvPr userDrawn="1"/>
        </p:nvSpPr>
        <p:spPr>
          <a:xfrm>
            <a:off x="483372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591739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3" name="Oval 32"/>
          <p:cNvSpPr/>
          <p:nvPr userDrawn="1"/>
        </p:nvSpPr>
        <p:spPr>
          <a:xfrm>
            <a:off x="483372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86408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6017740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6126108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7" name="Oval 36"/>
          <p:cNvSpPr/>
          <p:nvPr userDrawn="1"/>
        </p:nvSpPr>
        <p:spPr>
          <a:xfrm>
            <a:off x="6017740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6120776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39" name="Shape 31"/>
          <p:cNvSpPr txBox="1">
            <a:spLocks noGrp="1"/>
          </p:cNvSpPr>
          <p:nvPr>
            <p:ph type="body" idx="35"/>
          </p:nvPr>
        </p:nvSpPr>
        <p:spPr>
          <a:xfrm>
            <a:off x="1302998" y="1698089"/>
            <a:ext cx="4351399" cy="18312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Shape 31"/>
          <p:cNvSpPr txBox="1">
            <a:spLocks noGrp="1"/>
          </p:cNvSpPr>
          <p:nvPr>
            <p:ph type="body" idx="36" hasCustomPrompt="1"/>
          </p:nvPr>
        </p:nvSpPr>
        <p:spPr>
          <a:xfrm>
            <a:off x="1302997" y="1224570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1" name="Shape 31"/>
          <p:cNvSpPr txBox="1">
            <a:spLocks noGrp="1"/>
          </p:cNvSpPr>
          <p:nvPr>
            <p:ph type="body" idx="37"/>
          </p:nvPr>
        </p:nvSpPr>
        <p:spPr>
          <a:xfrm>
            <a:off x="1291153" y="4314849"/>
            <a:ext cx="4351399" cy="16858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291151" y="3841331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3" name="Shape 31"/>
          <p:cNvSpPr txBox="1">
            <a:spLocks noGrp="1"/>
          </p:cNvSpPr>
          <p:nvPr>
            <p:ph type="body" idx="39"/>
          </p:nvPr>
        </p:nvSpPr>
        <p:spPr>
          <a:xfrm>
            <a:off x="6828874" y="4339898"/>
            <a:ext cx="4351399" cy="1660777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6828873" y="386637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5" name="Shape 31"/>
          <p:cNvSpPr txBox="1">
            <a:spLocks noGrp="1"/>
          </p:cNvSpPr>
          <p:nvPr>
            <p:ph type="body" idx="41"/>
          </p:nvPr>
        </p:nvSpPr>
        <p:spPr>
          <a:xfrm>
            <a:off x="6828873" y="1695019"/>
            <a:ext cx="4351399" cy="186241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6828871" y="122149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4706D2B1-A360-B341-ADB5-E352056AA997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332517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8" name="Oval 27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68412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635620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6464571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7" name="Oval 46"/>
          <p:cNvSpPr/>
          <p:nvPr userDrawn="1"/>
        </p:nvSpPr>
        <p:spPr>
          <a:xfrm>
            <a:off x="6361747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Oval 47"/>
          <p:cNvSpPr/>
          <p:nvPr userDrawn="1"/>
        </p:nvSpPr>
        <p:spPr>
          <a:xfrm>
            <a:off x="635620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6464783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50" name="TextBox 49"/>
          <p:cNvSpPr txBox="1"/>
          <p:nvPr userDrawn="1"/>
        </p:nvSpPr>
        <p:spPr>
          <a:xfrm>
            <a:off x="6464571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51" name="Shape 31"/>
          <p:cNvSpPr txBox="1">
            <a:spLocks noGrp="1"/>
          </p:cNvSpPr>
          <p:nvPr>
            <p:ph type="body" idx="37"/>
          </p:nvPr>
        </p:nvSpPr>
        <p:spPr>
          <a:xfrm>
            <a:off x="1470969" y="1808941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470967" y="1335421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3" name="Shape 31"/>
          <p:cNvSpPr txBox="1">
            <a:spLocks noGrp="1"/>
          </p:cNvSpPr>
          <p:nvPr>
            <p:ph type="body" idx="39"/>
          </p:nvPr>
        </p:nvSpPr>
        <p:spPr>
          <a:xfrm>
            <a:off x="7172881" y="1808127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7172879" y="1334607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5" name="Shape 31"/>
          <p:cNvSpPr txBox="1">
            <a:spLocks noGrp="1"/>
          </p:cNvSpPr>
          <p:nvPr>
            <p:ph type="body" idx="41"/>
          </p:nvPr>
        </p:nvSpPr>
        <p:spPr>
          <a:xfrm>
            <a:off x="1487010" y="3375309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1487009" y="2901789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7" name="Shape 31"/>
          <p:cNvSpPr txBox="1">
            <a:spLocks noGrp="1"/>
          </p:cNvSpPr>
          <p:nvPr>
            <p:ph type="body" idx="43"/>
          </p:nvPr>
        </p:nvSpPr>
        <p:spPr>
          <a:xfrm>
            <a:off x="7188922" y="3374495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7188921" y="2900975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9" name="Shape 31"/>
          <p:cNvSpPr txBox="1">
            <a:spLocks noGrp="1"/>
          </p:cNvSpPr>
          <p:nvPr>
            <p:ph type="body" idx="45"/>
          </p:nvPr>
        </p:nvSpPr>
        <p:spPr>
          <a:xfrm>
            <a:off x="1487010" y="5021786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Shape 31"/>
          <p:cNvSpPr txBox="1">
            <a:spLocks noGrp="1"/>
          </p:cNvSpPr>
          <p:nvPr>
            <p:ph type="body" idx="46" hasCustomPrompt="1"/>
          </p:nvPr>
        </p:nvSpPr>
        <p:spPr>
          <a:xfrm>
            <a:off x="1487009" y="4548266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1" name="Shape 31"/>
          <p:cNvSpPr txBox="1">
            <a:spLocks noGrp="1"/>
          </p:cNvSpPr>
          <p:nvPr>
            <p:ph type="body" idx="47"/>
          </p:nvPr>
        </p:nvSpPr>
        <p:spPr>
          <a:xfrm>
            <a:off x="7188922" y="5020973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Shape 31"/>
          <p:cNvSpPr txBox="1">
            <a:spLocks noGrp="1"/>
          </p:cNvSpPr>
          <p:nvPr>
            <p:ph type="body" idx="48" hasCustomPrompt="1"/>
          </p:nvPr>
        </p:nvSpPr>
        <p:spPr>
          <a:xfrm>
            <a:off x="7188921" y="4547453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Slide Number Placeholder 3">
            <a:extLst>
              <a:ext uri="{FF2B5EF4-FFF2-40B4-BE49-F238E27FC236}">
                <a16:creationId xmlns:a16="http://schemas.microsoft.com/office/drawing/2014/main" id="{8E632A6B-9810-4B43-8526-A670C64BFF09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70674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32"/>
          <p:cNvSpPr/>
          <p:nvPr userDrawn="1"/>
        </p:nvSpPr>
        <p:spPr>
          <a:xfrm>
            <a:off x="487595" y="109985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95962" y="11358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486503" y="23324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480960" y="359686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607827" y="235008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589327" y="363282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9" name="Oval 38"/>
          <p:cNvSpPr/>
          <p:nvPr userDrawn="1"/>
        </p:nvSpPr>
        <p:spPr>
          <a:xfrm>
            <a:off x="504883" y="489383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613250" y="492979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1" name="Oval 40"/>
          <p:cNvSpPr/>
          <p:nvPr userDrawn="1"/>
        </p:nvSpPr>
        <p:spPr>
          <a:xfrm>
            <a:off x="6201908" y="109689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6310276" y="113285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6200816" y="232945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4" name="Oval 43"/>
          <p:cNvSpPr/>
          <p:nvPr userDrawn="1"/>
        </p:nvSpPr>
        <p:spPr>
          <a:xfrm>
            <a:off x="6195274" y="35939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6303852" y="2365416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6303640" y="362986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7</a:t>
            </a:r>
          </a:p>
        </p:txBody>
      </p:sp>
      <p:sp>
        <p:nvSpPr>
          <p:cNvPr id="63" name="Oval 62"/>
          <p:cNvSpPr/>
          <p:nvPr userDrawn="1"/>
        </p:nvSpPr>
        <p:spPr>
          <a:xfrm>
            <a:off x="6219196" y="4890884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64" name="TextBox 63"/>
          <p:cNvSpPr txBox="1"/>
          <p:nvPr userDrawn="1"/>
        </p:nvSpPr>
        <p:spPr>
          <a:xfrm>
            <a:off x="6327564" y="492684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8</a:t>
            </a:r>
          </a:p>
        </p:txBody>
      </p:sp>
      <p:sp>
        <p:nvSpPr>
          <p:cNvPr id="65" name="Shape 31"/>
          <p:cNvSpPr txBox="1">
            <a:spLocks noGrp="1"/>
          </p:cNvSpPr>
          <p:nvPr>
            <p:ph type="body" idx="43"/>
          </p:nvPr>
        </p:nvSpPr>
        <p:spPr>
          <a:xfrm>
            <a:off x="1298730" y="151525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1298729" y="112194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7" name="Shape 31"/>
          <p:cNvSpPr txBox="1">
            <a:spLocks noGrp="1"/>
          </p:cNvSpPr>
          <p:nvPr>
            <p:ph type="body" idx="59"/>
          </p:nvPr>
        </p:nvSpPr>
        <p:spPr>
          <a:xfrm>
            <a:off x="1292094" y="274288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Shape 31"/>
          <p:cNvSpPr txBox="1">
            <a:spLocks noGrp="1"/>
          </p:cNvSpPr>
          <p:nvPr>
            <p:ph type="body" idx="60" hasCustomPrompt="1"/>
          </p:nvPr>
        </p:nvSpPr>
        <p:spPr>
          <a:xfrm>
            <a:off x="1292093" y="236561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9" name="Shape 31"/>
          <p:cNvSpPr txBox="1">
            <a:spLocks noGrp="1"/>
          </p:cNvSpPr>
          <p:nvPr>
            <p:ph type="body" idx="61"/>
          </p:nvPr>
        </p:nvSpPr>
        <p:spPr>
          <a:xfrm>
            <a:off x="1298729" y="400016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Shape 31"/>
          <p:cNvSpPr txBox="1">
            <a:spLocks noGrp="1"/>
          </p:cNvSpPr>
          <p:nvPr>
            <p:ph type="body" idx="62" hasCustomPrompt="1"/>
          </p:nvPr>
        </p:nvSpPr>
        <p:spPr>
          <a:xfrm>
            <a:off x="1298727" y="362289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1" name="Shape 31"/>
          <p:cNvSpPr txBox="1">
            <a:spLocks noGrp="1"/>
          </p:cNvSpPr>
          <p:nvPr>
            <p:ph type="body" idx="63"/>
          </p:nvPr>
        </p:nvSpPr>
        <p:spPr>
          <a:xfrm>
            <a:off x="1298729" y="5283569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Shape 31"/>
          <p:cNvSpPr txBox="1">
            <a:spLocks noGrp="1"/>
          </p:cNvSpPr>
          <p:nvPr>
            <p:ph type="body" idx="64" hasCustomPrompt="1"/>
          </p:nvPr>
        </p:nvSpPr>
        <p:spPr>
          <a:xfrm>
            <a:off x="1298727" y="4906301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3" name="Shape 31"/>
          <p:cNvSpPr txBox="1">
            <a:spLocks noGrp="1"/>
          </p:cNvSpPr>
          <p:nvPr>
            <p:ph type="body" idx="65"/>
          </p:nvPr>
        </p:nvSpPr>
        <p:spPr>
          <a:xfrm>
            <a:off x="7035874" y="1515877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Shape 31"/>
          <p:cNvSpPr txBox="1">
            <a:spLocks noGrp="1"/>
          </p:cNvSpPr>
          <p:nvPr>
            <p:ph type="body" idx="66" hasCustomPrompt="1"/>
          </p:nvPr>
        </p:nvSpPr>
        <p:spPr>
          <a:xfrm>
            <a:off x="7035873" y="112256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5" name="Shape 31"/>
          <p:cNvSpPr txBox="1">
            <a:spLocks noGrp="1"/>
          </p:cNvSpPr>
          <p:nvPr>
            <p:ph type="body" idx="67"/>
          </p:nvPr>
        </p:nvSpPr>
        <p:spPr>
          <a:xfrm>
            <a:off x="7029238" y="274350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" name="Shape 31"/>
          <p:cNvSpPr txBox="1">
            <a:spLocks noGrp="1"/>
          </p:cNvSpPr>
          <p:nvPr>
            <p:ph type="body" idx="68" hasCustomPrompt="1"/>
          </p:nvPr>
        </p:nvSpPr>
        <p:spPr>
          <a:xfrm>
            <a:off x="7029237" y="2366236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7" name="Shape 31"/>
          <p:cNvSpPr txBox="1">
            <a:spLocks noGrp="1"/>
          </p:cNvSpPr>
          <p:nvPr>
            <p:ph type="body" idx="69"/>
          </p:nvPr>
        </p:nvSpPr>
        <p:spPr>
          <a:xfrm>
            <a:off x="7035873" y="400078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" name="Shape 31"/>
          <p:cNvSpPr txBox="1">
            <a:spLocks noGrp="1"/>
          </p:cNvSpPr>
          <p:nvPr>
            <p:ph type="body" idx="70" hasCustomPrompt="1"/>
          </p:nvPr>
        </p:nvSpPr>
        <p:spPr>
          <a:xfrm>
            <a:off x="7035871" y="362351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9" name="Shape 31"/>
          <p:cNvSpPr txBox="1">
            <a:spLocks noGrp="1"/>
          </p:cNvSpPr>
          <p:nvPr>
            <p:ph type="body" idx="71"/>
          </p:nvPr>
        </p:nvSpPr>
        <p:spPr>
          <a:xfrm>
            <a:off x="7035873" y="528419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Shape 31"/>
          <p:cNvSpPr txBox="1">
            <a:spLocks noGrp="1"/>
          </p:cNvSpPr>
          <p:nvPr>
            <p:ph type="body" idx="72" hasCustomPrompt="1"/>
          </p:nvPr>
        </p:nvSpPr>
        <p:spPr>
          <a:xfrm>
            <a:off x="7035871" y="4906925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52" name="Straight Connector 51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Slide Number Placeholder 3">
            <a:extLst>
              <a:ext uri="{FF2B5EF4-FFF2-40B4-BE49-F238E27FC236}">
                <a16:creationId xmlns:a16="http://schemas.microsoft.com/office/drawing/2014/main" id="{E47F0787-13C4-0B49-8EB0-300773870C2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582627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02EFA8-86F7-5C31-5104-2B65D8041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99DDD42-FE2D-D642-E110-28A55F33B8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ACB5C9A-7214-BCB4-B9BE-927047969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A1B8953-B924-11B7-DBFD-A8DFF3195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C1870E9-08A1-92E7-76BB-5C5393374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52344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st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Oval 46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49" name="Oval 48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1" name="TextBox 50"/>
          <p:cNvSpPr txBox="1"/>
          <p:nvPr userDrawn="1"/>
        </p:nvSpPr>
        <p:spPr>
          <a:xfrm>
            <a:off x="768412" y="287958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52" name="TextBox 51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53" name="Shape 31"/>
          <p:cNvSpPr txBox="1">
            <a:spLocks noGrp="1"/>
          </p:cNvSpPr>
          <p:nvPr>
            <p:ph type="body" idx="43"/>
          </p:nvPr>
        </p:nvSpPr>
        <p:spPr>
          <a:xfrm>
            <a:off x="1363341" y="1326414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4"/>
          </p:nvPr>
        </p:nvSpPr>
        <p:spPr>
          <a:xfrm>
            <a:off x="1379383" y="2861918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Shape 31"/>
          <p:cNvSpPr txBox="1">
            <a:spLocks noGrp="1"/>
          </p:cNvSpPr>
          <p:nvPr>
            <p:ph type="body" idx="45"/>
          </p:nvPr>
        </p:nvSpPr>
        <p:spPr>
          <a:xfrm>
            <a:off x="1379383" y="4507175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C2C29879-693B-0E4E-97BB-C12E7989994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4362239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edback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31"/>
          <p:cNvSpPr txBox="1">
            <a:spLocks noGrp="1"/>
          </p:cNvSpPr>
          <p:nvPr>
            <p:ph type="body" idx="11"/>
          </p:nvPr>
        </p:nvSpPr>
        <p:spPr>
          <a:xfrm>
            <a:off x="303217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303217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0" name="Shape 31"/>
          <p:cNvSpPr txBox="1">
            <a:spLocks noGrp="1"/>
          </p:cNvSpPr>
          <p:nvPr>
            <p:ph type="body" idx="15"/>
          </p:nvPr>
        </p:nvSpPr>
        <p:spPr>
          <a:xfrm>
            <a:off x="3347673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 31"/>
          <p:cNvSpPr txBox="1">
            <a:spLocks noGrp="1"/>
          </p:cNvSpPr>
          <p:nvPr>
            <p:ph type="body" idx="16" hasCustomPrompt="1"/>
          </p:nvPr>
        </p:nvSpPr>
        <p:spPr>
          <a:xfrm>
            <a:off x="3347673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2" name="Shape 31"/>
          <p:cNvSpPr txBox="1">
            <a:spLocks noGrp="1"/>
          </p:cNvSpPr>
          <p:nvPr>
            <p:ph type="body" idx="17"/>
          </p:nvPr>
        </p:nvSpPr>
        <p:spPr>
          <a:xfrm>
            <a:off x="6392129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Shape 31"/>
          <p:cNvSpPr txBox="1">
            <a:spLocks noGrp="1"/>
          </p:cNvSpPr>
          <p:nvPr>
            <p:ph type="body" idx="18" hasCustomPrompt="1"/>
          </p:nvPr>
        </p:nvSpPr>
        <p:spPr>
          <a:xfrm>
            <a:off x="6392129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4" name="Shape 31"/>
          <p:cNvSpPr txBox="1">
            <a:spLocks noGrp="1"/>
          </p:cNvSpPr>
          <p:nvPr>
            <p:ph type="body" idx="19"/>
          </p:nvPr>
        </p:nvSpPr>
        <p:spPr>
          <a:xfrm>
            <a:off x="9436585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Shape 31"/>
          <p:cNvSpPr txBox="1">
            <a:spLocks noGrp="1"/>
          </p:cNvSpPr>
          <p:nvPr>
            <p:ph type="body" idx="20" hasCustomPrompt="1"/>
          </p:nvPr>
        </p:nvSpPr>
        <p:spPr>
          <a:xfrm>
            <a:off x="9436585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69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Oval 30"/>
          <p:cNvSpPr/>
          <p:nvPr userDrawn="1"/>
        </p:nvSpPr>
        <p:spPr>
          <a:xfrm>
            <a:off x="303216" y="1672522"/>
            <a:ext cx="733793" cy="7337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343956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3322635" y="1672522"/>
            <a:ext cx="733793" cy="7337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36337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8" name="Oval 37"/>
          <p:cNvSpPr/>
          <p:nvPr userDrawn="1"/>
        </p:nvSpPr>
        <p:spPr>
          <a:xfrm>
            <a:off x="6377080" y="1672522"/>
            <a:ext cx="733793" cy="7337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6417820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40" name="Oval 39"/>
          <p:cNvSpPr/>
          <p:nvPr userDrawn="1"/>
        </p:nvSpPr>
        <p:spPr>
          <a:xfrm>
            <a:off x="9431525" y="1672522"/>
            <a:ext cx="733793" cy="7337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947226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6682D3DF-39CE-2248-A0DC-5F21CF69434F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5664734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Questions?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7D1EAEB-2437-A04A-B9D8-EA84FF80D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030160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Thank You.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64764F1-ACE4-AC42-9CF5-CBDF23C02AD3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4933450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155355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BE95FF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689997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3351C3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285497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9268107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3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7882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94AF1D2-C05F-0E40-06EC-44B866ADE0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09509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424E05-9B4B-3CB3-8F98-766DC4C87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5AEDAAC-8BDE-F304-03DD-18A1B9D3B8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E3F8521-8206-915F-E423-4C1A340D49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6A38F8A-3F01-11E5-8696-A1BF581F1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055198-1ECE-9180-2B5A-0411B9E47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5161EC9-D617-5E29-117C-816924EDBE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5544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xes (1 large, 4 small)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2791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1751" y="6256739"/>
            <a:ext cx="695452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1296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9328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245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918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8749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3" y="121920"/>
            <a:ext cx="11704229" cy="5872480"/>
          </a:xfrm>
        </p:spPr>
        <p:txBody>
          <a:bodyPr/>
          <a:lstStyle>
            <a:lvl1pPr>
              <a:defRPr sz="12786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335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0" y="268225"/>
            <a:ext cx="7416713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6295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573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1" y="1658113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4892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E56784-8AF0-8702-828E-E6D86BAD1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F32CAF8-09D2-B984-6C26-FF18C974D5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C23CF5E-64F5-0162-9F6F-61F3F4432E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2B90CBD-667F-6829-3447-8C2CA4D94E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032084F-A782-454E-5CEE-16F38F0530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2AC5406B-76ED-B1E5-7B74-CE5F711F8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330EA2D7-4829-B682-5C95-F2550E2FF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B710E83-E9E8-AB5C-3BFB-AF0F7AF11B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55497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2965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4259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3021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1584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9" y="268225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599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9371FA57-1C35-0825-74D9-10C706C45D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857297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6971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840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6606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52C5ABE-6F74-7D2F-E9BE-984771008F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757434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2"/>
            <a:ext cx="6096000" cy="3429003"/>
          </a:xfrm>
          <a:solidFill>
            <a:srgbClr val="0530AD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6096000" cy="3431116"/>
          </a:xfrm>
          <a:solidFill>
            <a:schemeClr val="tx1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D7E182F6-853C-0B50-0EB1-9FA63DCC06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094176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48DB33-A43A-D551-954D-E80C97F3BC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FC366D8-04AD-39BB-9F9D-534EBFA6A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B1EEB01-1AEF-9AFC-5EB0-701D97AFF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782AEAB-4D2F-2B42-6327-2399256B8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094951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384048" tIns="310896" rIns="384048" bIns="228600"/>
          <a:lstStyle>
            <a:lvl1pPr>
              <a:defRPr sz="639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3048000" cy="343111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6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143A6CD3-E01C-F7D2-5D47-0BF4D2F1A5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580313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4532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3429000"/>
            <a:ext cx="3048004" cy="3429000"/>
          </a:xfrm>
          <a:solidFill>
            <a:schemeClr val="tx2"/>
          </a:solidFill>
        </p:spPr>
        <p:txBody>
          <a:bodyPr lIns="457200" tIns="384048" rIns="4572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2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2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2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9897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457200" tIns="384048" rIns="4572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41F2CE3C-A6C6-0A0F-5E97-EA9E92F24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883956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3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0826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5637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730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0891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5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64882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976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39CD95C-68FA-4C01-B219-9D88AD58E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3D736AC-D775-D67E-26D2-56210DF64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4FE093D-624F-E034-BB62-A14D0331C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79090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446221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2"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799"/>
            </a:lvl1pPr>
            <a:lvl2pPr>
              <a:defRPr sz="799"/>
            </a:lvl2pPr>
            <a:lvl3pPr>
              <a:defRPr sz="799"/>
            </a:lvl3pPr>
            <a:lvl4pPr>
              <a:defRPr sz="799"/>
            </a:lvl4pPr>
            <a:lvl5pPr>
              <a:defRPr sz="7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24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IBM 8-bar logo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0928" y="3083848"/>
            <a:ext cx="1730144" cy="690309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7230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6377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093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27061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094956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44" y="112935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3229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08916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6995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403F078-1C78-FAEB-4861-B483D91D3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06117C3-E91A-571C-B08A-39657AAE0A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A753E74-2437-9EFC-0E7B-2A93C57F49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86D8BE4-32EF-0598-A30C-8AAE38B27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9D5E26F-F1F3-1B02-47BD-36519E00B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2BB9DD9-2812-CDF3-3CDF-923927814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67651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84109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0813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6824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24607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53068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7988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3330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569DBBD2-81AB-BC8D-5FCE-FCC799BE58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7671337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69020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4158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5C0006-A07B-B935-BB4B-71AF11821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2E7D73C-2AD2-4D9A-0D6C-BC60D73AD9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9DFD574-B0D6-3217-6796-CDEEEBA251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470C9A8-D9FF-4558-DA32-8D85E3CB6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6C67A6E-CEFC-13CB-8362-DB31CEFE3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3818F22-EF87-D014-4C93-9C39B7CCD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25412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3955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E6E72EB9-D363-2D5F-7795-D9168B3B81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99379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1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72C5EC34-5D8A-9CC9-053E-A37FE0772A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066182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81BA9788-F15F-FBE9-E68A-A1351991C9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0281819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2055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4361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DB4DB5C7-7708-D859-F904-1A40E778B0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7747621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09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83205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551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theme" Target="../theme/theme4.xml"/><Relationship Id="rId8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82DE541-873F-DAB5-66A6-5C079478B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8A97245-1AD0-E78B-77C4-C3BC1EA32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7D35C2B-5B36-47BE-C405-1172A4C384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35334D7-1637-2616-BB5B-7546F92994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F56FD9-9B43-262B-DFAE-4E4F2B520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6988B69E-1E70-A3CA-D170-BA8E387C405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30307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18B5EE56-40F3-0DBB-EAAB-88303CEFFE79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29738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9" r:id="rId27"/>
    <p:sldLayoutId id="2147483792" r:id="rId28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5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90" y="6383867"/>
            <a:ext cx="5486313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37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3" y="6383867"/>
            <a:ext cx="2438309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BF7E8C16-95CB-8E64-B04F-C4C45E77947F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279799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75" r:id="rId15"/>
    <p:sldLayoutId id="2147483739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90" r:id="rId31"/>
    <p:sldLayoutId id="2147483791" r:id="rId3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97" b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5pPr>
      <a:lvl6pPr marL="48292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6pPr>
      <a:lvl7pPr marL="96586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7pPr>
      <a:lvl8pPr marL="144879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8pPr>
      <a:lvl9pPr marL="193172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22836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456738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837351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 baseline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106994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2109463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6pPr>
      <a:lvl7pPr marL="2592395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7pPr>
      <a:lvl8pPr marL="307532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8pPr>
      <a:lvl9pPr marL="355825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1pPr>
      <a:lvl2pPr marL="48292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2pPr>
      <a:lvl3pPr marL="965861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3pPr>
      <a:lvl4pPr marL="144879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4pPr>
      <a:lvl5pPr marL="193172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5pPr>
      <a:lvl6pPr marL="241465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6pPr>
      <a:lvl7pPr marL="289757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7pPr>
      <a:lvl8pPr marL="338050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8pPr>
      <a:lvl9pPr marL="386343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288">
          <p15:clr>
            <a:srgbClr val="F26B43"/>
          </p15:clr>
        </p15:guide>
        <p15:guide id="3" pos="11232">
          <p15:clr>
            <a:srgbClr val="F26B43"/>
          </p15:clr>
        </p15:guide>
        <p15:guide id="4" orient="horz" pos="5669">
          <p15:clr>
            <a:srgbClr val="F26B43"/>
          </p15:clr>
        </p15:guide>
        <p15:guide id="5" orient="horz" pos="6182">
          <p15:clr>
            <a:srgbClr val="F26B43"/>
          </p15:clr>
        </p15:guide>
        <p15:guide id="6" pos="5760">
          <p15:clr>
            <a:srgbClr val="F26B43"/>
          </p15:clr>
        </p15:guide>
        <p15:guide id="7" pos="5472">
          <p15:clr>
            <a:srgbClr val="F26B43"/>
          </p15:clr>
        </p15:guide>
        <p15:guide id="8" pos="2880">
          <p15:clr>
            <a:srgbClr val="F26B43"/>
          </p15:clr>
        </p15:guide>
        <p15:guide id="9" pos="6048">
          <p15:clr>
            <a:srgbClr val="F26B43"/>
          </p15:clr>
        </p15:guide>
        <p15:guide id="10" pos="2592">
          <p15:clr>
            <a:srgbClr val="F26B43"/>
          </p15:clr>
        </p15:guide>
        <p15:guide id="11" pos="3168">
          <p15:clr>
            <a:srgbClr val="F26B43"/>
          </p15:clr>
        </p15:guide>
        <p15:guide id="12" pos="8640">
          <p15:clr>
            <a:srgbClr val="F26B43"/>
          </p15:clr>
        </p15:guide>
        <p15:guide id="13" pos="8352">
          <p15:clr>
            <a:srgbClr val="F26B43"/>
          </p15:clr>
        </p15:guide>
        <p15:guide id="14" pos="8928">
          <p15:clr>
            <a:srgbClr val="F26B43"/>
          </p15:clr>
        </p15:guide>
        <p15:guide id="15" orient="horz" pos="825">
          <p15:clr>
            <a:srgbClr val="F26B43"/>
          </p15:clr>
        </p15:guide>
        <p15:guide id="17" orient="horz" pos="1626">
          <p15:clr>
            <a:srgbClr val="F26B43"/>
          </p15:clr>
        </p15:guide>
        <p15:guide id="18" orient="horz" pos="3243">
          <p15:clr>
            <a:srgbClr val="F26B43"/>
          </p15:clr>
        </p15:guide>
        <p15:guide id="19" orient="horz" pos="2434">
          <p15:clr>
            <a:srgbClr val="F26B43"/>
          </p15:clr>
        </p15:guide>
        <p15:guide id="20" orient="horz" pos="4048">
          <p15:clr>
            <a:srgbClr val="F26B43"/>
          </p15:clr>
        </p15:guide>
        <p15:guide id="21" orient="horz" pos="48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6D1DCB56-99B2-79AC-402F-3248D14A369C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74614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1" r:id="rId32"/>
    <p:sldLayoutId id="2147483772" r:id="rId33"/>
    <p:sldLayoutId id="2147483773" r:id="rId34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hyperlink" Target="mailto:alexandre.zanetti@br.ibm.com" TargetMode="Externa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3.ibm.com/tools/caseviewer/listcases/?type=accounts&amp;id=0015000001OVOKjAAP&amp;name=BANCO%20BRADESCO%20S/A&amp;ICN=0050200" TargetMode="External"/><Relationship Id="rId7" Type="http://schemas.openxmlformats.org/officeDocument/2006/relationships/hyperlink" Target="https://reports.rchland.ibm.com/cgi-bin/sf?TS018306218" TargetMode="External"/><Relationship Id="rId2" Type="http://schemas.openxmlformats.org/officeDocument/2006/relationships/hyperlink" Target="https://smartcare.rchland.ibm.com/Dashboard/html/reports/detailedReport.html?reportType=SFC&amp;index=347&amp;division=All&amp;brand=All&amp;geo=All&amp;cc=All&amp;problem_type=Software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7961296" TargetMode="External"/><Relationship Id="rId5" Type="http://schemas.openxmlformats.org/officeDocument/2006/relationships/hyperlink" Target="https://reports.rchland.ibm.com/cgi-bin/sf?TS016275734" TargetMode="External"/><Relationship Id="rId4" Type="http://schemas.openxmlformats.org/officeDocument/2006/relationships/hyperlink" Target="https://reports.rchland.ibm.com/cgi-bin/sf?TS015663910" TargetMode="Externa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artner.com/reviews/market/event-brokers/vendor/ibm/product/ibm-mq" TargetMode="External"/><Relationship Id="rId13" Type="http://schemas.openxmlformats.org/officeDocument/2006/relationships/hyperlink" Target="https://www.gartner.com/reviews/market/business-process-management-platforms/vendor/ibm/product/ibm-operational-decision-manager" TargetMode="External"/><Relationship Id="rId18" Type="http://schemas.openxmlformats.org/officeDocument/2006/relationships/hyperlink" Target="https://www.g2.com/contributor/ibm-turbonomic-25-usd-2-reward-link?secure%5Bpage_id%5D=ibm-turbonomic-25-usd-2-reward-link&amp;secure%5Brewards%5D=true&amp;secure%5Btoken%5D=32796aa81198b646011e86b0e261e984a48e546359a6b12b5a2c0956cf633fb1&amp;utm_source=ibm&amp;utm_medium=CSM&amp;utm_campaign=email" TargetMode="External"/><Relationship Id="rId26" Type="http://schemas.openxmlformats.org/officeDocument/2006/relationships/image" Target="../media/image31.png"/><Relationship Id="rId3" Type="http://schemas.openxmlformats.org/officeDocument/2006/relationships/image" Target="../media/image23.png"/><Relationship Id="rId21" Type="http://schemas.openxmlformats.org/officeDocument/2006/relationships/image" Target="../media/image1.png"/><Relationship Id="rId7" Type="http://schemas.openxmlformats.org/officeDocument/2006/relationships/hyperlink" Target="https://www.gartner.com/reviews/market/data-and-analytics-others/vendor/ibm/product/ibm-event-streams" TargetMode="External"/><Relationship Id="rId12" Type="http://schemas.openxmlformats.org/officeDocument/2006/relationships/hyperlink" Target="https://www.gartner.com/reviews/market/content-services-platforms/vendor/ibm/product/ibm-filenet-content-manager" TargetMode="External"/><Relationship Id="rId17" Type="http://schemas.openxmlformats.org/officeDocument/2006/relationships/hyperlink" Target="https://www.gartner.com/reviews/market/cloud-management-tooling/vendor/ibm/product/ibm-turbonomic" TargetMode="External"/><Relationship Id="rId25" Type="http://schemas.openxmlformats.org/officeDocument/2006/relationships/image" Target="../media/image30.png"/><Relationship Id="rId2" Type="http://schemas.openxmlformats.org/officeDocument/2006/relationships/image" Target="../media/image22.png"/><Relationship Id="rId16" Type="http://schemas.openxmlformats.org/officeDocument/2006/relationships/hyperlink" Target="https://www.gartner.com/reviews/market/observability-platforms/vendor/ibm/product/ibm-instana-observability" TargetMode="External"/><Relationship Id="rId20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gartner.com/reviews/market/application-development-integration-and-management-others/vendor/ibm/product/ibm-aspera" TargetMode="External"/><Relationship Id="rId11" Type="http://schemas.openxmlformats.org/officeDocument/2006/relationships/hyperlink" Target="https://www.gartner.com/reviews/market/business-process-management-platforms/vendor/ibm/product/ibm-business-automation-workflow" TargetMode="External"/><Relationship Id="rId24" Type="http://schemas.openxmlformats.org/officeDocument/2006/relationships/image" Target="../media/image29.png"/><Relationship Id="rId5" Type="http://schemas.openxmlformats.org/officeDocument/2006/relationships/hyperlink" Target="https://www.gartner.com/reviews/market/application-integration-platforms/vendor/ibm/product/ibm-app-connect" TargetMode="External"/><Relationship Id="rId15" Type="http://schemas.openxmlformats.org/officeDocument/2006/relationships/hyperlink" Target="https://www.gartner.com/reviews/market/robotic-process-automation/vendor/ibm/product/ibm-robotic-process-automation" TargetMode="External"/><Relationship Id="rId23" Type="http://schemas.openxmlformats.org/officeDocument/2006/relationships/image" Target="../media/image28.png"/><Relationship Id="rId28" Type="http://schemas.openxmlformats.org/officeDocument/2006/relationships/image" Target="../media/image33.png"/><Relationship Id="rId10" Type="http://schemas.openxmlformats.org/officeDocument/2006/relationships/hyperlink" Target="https://www.gartner.com/reviews/market/application-platforms-reviews/vendor/ibm/product/websphere-application-server-liberty-core" TargetMode="External"/><Relationship Id="rId19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hyperlink" Target="https://www.gartner.com/reviews/market/application-platforms-reviews/vendor/ibm/product/websphere-application-server-was" TargetMode="External"/><Relationship Id="rId14" Type="http://schemas.openxmlformats.org/officeDocument/2006/relationships/hyperlink" Target="https://www.gartner.com/reviews/market/process-mining-platforms/vendor/ibm/product/ibm-process-mining" TargetMode="External"/><Relationship Id="rId22" Type="http://schemas.openxmlformats.org/officeDocument/2006/relationships/image" Target="../media/image27.png"/><Relationship Id="rId27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ibm%20Datapower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p%20connect%20enterprise" TargetMode="External"/><Relationship Id="rId7" Type="http://schemas.openxmlformats.org/officeDocument/2006/relationships/image" Target="../media/image3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hyperlink" Target="https://www.ibm.com/support/pages/lifecycle/search?q=ibm%20integration%20bus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8.png"/><Relationship Id="rId4" Type="http://schemas.openxmlformats.org/officeDocument/2006/relationships/hyperlink" Target="https://www.ibm.com/support/pages/lifecycle/search?q=ibm%20mq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40.png"/><Relationship Id="rId4" Type="http://schemas.openxmlformats.org/officeDocument/2006/relationships/hyperlink" Target="https://www.ibm.com/support/pages/lifecycle/search?q=ibm%20event%20automation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1.png"/><Relationship Id="rId4" Type="http://schemas.openxmlformats.org/officeDocument/2006/relationships/image" Target="../media/image3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2.png"/><Relationship Id="rId4" Type="http://schemas.openxmlformats.org/officeDocument/2006/relationships/image" Target="../media/image3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w3.ibm.com/tools/caseviewer/listcases/?type=accounts&amp;id=0015000001OUsTkAAL&amp;name=BRADESCO%20SEGUROS%20S/A&amp;ICN=0041400" TargetMode="External"/><Relationship Id="rId2" Type="http://schemas.openxmlformats.org/officeDocument/2006/relationships/hyperlink" Target="https://w3.ibm.com/tools/caseviewer/listcases/?type=accounts&amp;id=0015000001OVOKjAAP&amp;name=BANCO%20BRADESCO%20S/A&amp;ICN=0050200" TargetMode="External"/><Relationship Id="rId1" Type="http://schemas.openxmlformats.org/officeDocument/2006/relationships/slideLayout" Target="../slideLayouts/slideLayout2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ibmsalesconfigurator.com/#/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0.xml"/><Relationship Id="rId5" Type="http://schemas.openxmlformats.org/officeDocument/2006/relationships/hyperlink" Target="mailto:alexandre.zanetti@br.ibm.com" TargetMode="Externa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Bradesco Seguros – Rotta Seguros">
            <a:extLst>
              <a:ext uri="{FF2B5EF4-FFF2-40B4-BE49-F238E27FC236}">
                <a16:creationId xmlns:a16="http://schemas.microsoft.com/office/drawing/2014/main" id="{97F23CD2-DE55-FF16-BB10-CE33E28B51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8894" y="2511992"/>
            <a:ext cx="4416051" cy="1552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" descr="Picture">
            <a:extLst>
              <a:ext uri="{FF2B5EF4-FFF2-40B4-BE49-F238E27FC236}">
                <a16:creationId xmlns:a16="http://schemas.microsoft.com/office/drawing/2014/main" id="{D7EBC7DD-0C7F-DD3E-0E0C-58E40EDC65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451" y="6277006"/>
            <a:ext cx="584201" cy="231615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8A75E89-8A5E-9C4E-8913-431969C8D27C}"/>
              </a:ext>
            </a:extLst>
          </p:cNvPr>
          <p:cNvSpPr txBox="1"/>
          <p:nvPr/>
        </p:nvSpPr>
        <p:spPr>
          <a:xfrm>
            <a:off x="3630027" y="6323955"/>
            <a:ext cx="20329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Q3 04 </a:t>
            </a:r>
            <a:r>
              <a:rPr lang="en-US" i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Julho</a:t>
            </a:r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 2025</a:t>
            </a: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8C5E088B-F239-B4BC-57B6-18BF22947AE6}"/>
              </a:ext>
            </a:extLst>
          </p:cNvPr>
          <p:cNvSpPr txBox="1">
            <a:spLocks/>
          </p:cNvSpPr>
          <p:nvPr/>
        </p:nvSpPr>
        <p:spPr>
          <a:xfrm>
            <a:off x="298388" y="841234"/>
            <a:ext cx="5619212" cy="3163607"/>
          </a:xfrm>
          <a:prstGeom prst="rect">
            <a:avLst/>
          </a:prstGeom>
        </p:spPr>
        <p:txBody>
          <a:bodyPr vert="horz" lIns="91425" tIns="91425" rIns="91425" bIns="91425" rtlCol="0" anchor="b" anchorCtr="0">
            <a:normAutofit/>
          </a:bodyPr>
          <a:lstStyle>
            <a:lvl1pPr lvl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SzPct val="100000"/>
              <a:buNone/>
              <a:defRPr sz="4800" b="0" i="0" kern="120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pPr algn="ctr"/>
            <a:r>
              <a:rPr lang="en-US" dirty="0"/>
              <a:t>IBM </a:t>
            </a:r>
            <a:br>
              <a:rPr lang="en-US" dirty="0"/>
            </a:br>
            <a:br>
              <a:rPr lang="en-US" dirty="0"/>
            </a:br>
            <a:r>
              <a:rPr lang="en-US" sz="3200" dirty="0" err="1"/>
              <a:t>Resumo</a:t>
            </a:r>
            <a:r>
              <a:rPr lang="en-US" sz="3200" dirty="0"/>
              <a:t> </a:t>
            </a:r>
            <a:r>
              <a:rPr lang="en-US" sz="3200" dirty="0" err="1"/>
              <a:t>Executivo</a:t>
            </a:r>
            <a:br>
              <a:rPr lang="en-US" sz="3200" dirty="0"/>
            </a:br>
            <a:r>
              <a:rPr lang="en-US" sz="3200" dirty="0"/>
              <a:t>Contas Enterprise - Strategic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96CF840-F2AC-F04E-6A7C-314FB160325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247" t="1553" r="5237" b="2378"/>
          <a:stretch/>
        </p:blipFill>
        <p:spPr>
          <a:xfrm>
            <a:off x="568282" y="4862520"/>
            <a:ext cx="974725" cy="97155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DFF9E604-CA67-181D-8E8F-E283D3D45AEB}"/>
              </a:ext>
            </a:extLst>
          </p:cNvPr>
          <p:cNvSpPr txBox="1"/>
          <p:nvPr/>
        </p:nvSpPr>
        <p:spPr>
          <a:xfrm>
            <a:off x="1598782" y="4812709"/>
            <a:ext cx="4293483" cy="1046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Alexandre Zanetti</a:t>
            </a:r>
          </a:p>
          <a:p>
            <a:r>
              <a:rPr lang="pt-BR" sz="1400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55 (11) 98539-4632</a:t>
            </a:r>
          </a:p>
          <a:p>
            <a:r>
              <a:rPr lang="en-US" sz="1400" dirty="0">
                <a:solidFill>
                  <a:schemeClr val="bg1"/>
                </a:solidFill>
                <a:effectLst/>
              </a:rPr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565198220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3BFFBA0-9D08-1E73-2F75-D466D9F0F0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FF6F06B9-B9E5-FBEE-A490-F2C4B14522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31BE09E-843F-406C-7696-2F4D36981C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A9AF334-D97C-D6DB-4785-385AB0CF3F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E103-D3C4-2D9B-65BF-8D98A85900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E0003E6-C2FE-C15C-B8BD-B2CA05B535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E39A080-1782-7912-7A44-D99B0C125503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3201FCD-82F6-0B22-024F-2CE53364CB85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85B42C3-3FDA-895A-6A68-675D25B3396D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B475616-F36D-4D5F-0EAF-28E5FF406AC8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MQ &amp; ACE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ória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é Guilherme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io Puppo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bio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certa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Deni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6/06/2025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FD0D732-AA7C-AB14-B021-D6D8CD16354D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3BD31EFD-A4FA-EC2C-ACEC-8BCE141FC2B0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FFE5BD75-A430-ACC0-D53F-0C73A44C7494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57A9FC4C-2C91-5640-9129-0795C9E52FB6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899CF641-B3E1-7B2D-2553-D2A86177F191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BC4FD8A6-9869-CBF5-56F2-38372AB309F8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gestores </a:t>
              </a: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C80BA4F0-C6ED-9698-60CB-FA52053407B5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9578D58B-81CB-E577-D88A-78FCECE32B3E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AA106B48-E731-608C-62F4-F43C675CAB3E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9" name="Straight Arrow Connector 4">
                <a:extLst>
                  <a:ext uri="{FF2B5EF4-FFF2-40B4-BE49-F238E27FC236}">
                    <a16:creationId xmlns:a16="http://schemas.microsoft.com/office/drawing/2014/main" id="{359A45D3-6EC0-F863-5D94-CC273401034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0" name="Oval 6">
                <a:extLst>
                  <a:ext uri="{FF2B5EF4-FFF2-40B4-BE49-F238E27FC236}">
                    <a16:creationId xmlns:a16="http://schemas.microsoft.com/office/drawing/2014/main" id="{C48F3D91-4C72-FEFB-2E99-4FDAF428FF53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1" name="Oval 6">
                <a:extLst>
                  <a:ext uri="{FF2B5EF4-FFF2-40B4-BE49-F238E27FC236}">
                    <a16:creationId xmlns:a16="http://schemas.microsoft.com/office/drawing/2014/main" id="{22746D51-BC70-5579-43D2-505CD0C5FBF7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02" name="Group 101">
                <a:extLst>
                  <a:ext uri="{FF2B5EF4-FFF2-40B4-BE49-F238E27FC236}">
                    <a16:creationId xmlns:a16="http://schemas.microsoft.com/office/drawing/2014/main" id="{9ADC02DA-C2E6-5100-71C6-95F149ABEC5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42CB8807-2D08-4340-4551-56EBFFBE6412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DE8FD40F-D5E3-48DF-7B2A-477C5FA24517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0D28E3FC-E90C-0197-5AA2-A67B180CC88D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03" name="Oval 6">
                <a:extLst>
                  <a:ext uri="{FF2B5EF4-FFF2-40B4-BE49-F238E27FC236}">
                    <a16:creationId xmlns:a16="http://schemas.microsoft.com/office/drawing/2014/main" id="{97F17BA4-86AB-9174-A6B5-BD9FB4DBB905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07168531-8DB1-C473-F49D-13733D085AEF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26E4FD14-B72F-6837-CB7F-E99488DCF991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AED6DB28-9735-0CB6-352E-E56EB5885CEB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DB6C7D63-B003-AA3E-33E9-5B24EDE60893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ACC9D763-D196-5455-401F-090B590FB636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07E6C8D7-8765-578D-513E-150048DD819D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echado novos times de atendiment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r OKR e definir plano de aç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MQ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ACE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68D8900E-4A35-5412-20B9-C0FF32D8B33F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91" name="Straight Arrow Connector 4">
                <a:extLst>
                  <a:ext uri="{FF2B5EF4-FFF2-40B4-BE49-F238E27FC236}">
                    <a16:creationId xmlns:a16="http://schemas.microsoft.com/office/drawing/2014/main" id="{3751E062-8E34-B0EC-3F1A-A274A9760DE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2" name="Oval 6">
                <a:extLst>
                  <a:ext uri="{FF2B5EF4-FFF2-40B4-BE49-F238E27FC236}">
                    <a16:creationId xmlns:a16="http://schemas.microsoft.com/office/drawing/2014/main" id="{9D12DAD3-84CB-FB0A-4BAB-00B949CE259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3" name="Oval 6">
                <a:extLst>
                  <a:ext uri="{FF2B5EF4-FFF2-40B4-BE49-F238E27FC236}">
                    <a16:creationId xmlns:a16="http://schemas.microsoft.com/office/drawing/2014/main" id="{1AE2603F-C2E4-16DA-C5BB-FA701D72737E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3E3FC662-7DB1-4470-C3BF-1F512090767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96" name="Rectangle 95">
                  <a:extLst>
                    <a:ext uri="{FF2B5EF4-FFF2-40B4-BE49-F238E27FC236}">
                      <a16:creationId xmlns:a16="http://schemas.microsoft.com/office/drawing/2014/main" id="{A0B7BEA1-C96D-9793-27FC-6CA33C967D2E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97" name="Rectangle 96">
                  <a:extLst>
                    <a:ext uri="{FF2B5EF4-FFF2-40B4-BE49-F238E27FC236}">
                      <a16:creationId xmlns:a16="http://schemas.microsoft.com/office/drawing/2014/main" id="{4639EE3E-8AA6-7152-1A97-C576D5646569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8EC0D84E-57C5-AC58-F960-2B86335B699C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95" name="Oval 6">
                <a:extLst>
                  <a:ext uri="{FF2B5EF4-FFF2-40B4-BE49-F238E27FC236}">
                    <a16:creationId xmlns:a16="http://schemas.microsoft.com/office/drawing/2014/main" id="{54C99587-FE12-6997-D25C-0A0E2E85157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438855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F408CC7-D125-8646-DFA2-4A54847ADF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D69F3D9C-4E7E-A456-A851-24B84632B8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1DFB74D-3C2F-231A-7EED-36E88A195F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C3F4C60-BD92-5F0F-B6CA-3C2D056BF1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C0F9191-C56C-949E-5C0B-8002C5C367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F9BC75F-01A0-91D2-D4C5-777E69907E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5CF7EA9-ADAB-B8E9-75DF-88084AF4E1B5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736E97B-71DF-2B51-1707-E44AC2BAC69A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5DE62D5-BBEC-E63B-A032-9C92A52DAE12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365ED1C-A159-3203-18E0-33FCF7FEDA2D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MQ &amp; ACE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ória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é Guilherme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io Puppo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bio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certa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Deni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6/06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4/07/2025</a:t>
            </a:r>
          </a:p>
          <a:p>
            <a:pPr marL="0" lvl="2" algn="ctr"/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7754D46A-0F91-B061-5006-E13858350599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BA88996-7EC4-5BEB-EED6-9E403CC3AF48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213E361-E14D-2596-A6DE-0B1140E1484F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A2C15307-1D77-6964-57DA-7DD83A093AF5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B8E9246F-38EE-0E5C-7E6A-616BA356516D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DDC94FE5-BC01-0010-A2B4-9C05814E63A0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echado novos times de atendiment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r OKR e definir plano de aç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MQ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ACE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25D4FD0-D0AF-DBBE-7128-6D52A6CB9268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6CD034E5-C415-9416-A3D2-5994F847E0F0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E68FCFE7-4BA9-9077-12C9-E9A484975BE7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66" name="Straight Arrow Connector 4">
                <a:extLst>
                  <a:ext uri="{FF2B5EF4-FFF2-40B4-BE49-F238E27FC236}">
                    <a16:creationId xmlns:a16="http://schemas.microsoft.com/office/drawing/2014/main" id="{65FE3E47-2DE2-4586-311D-5A59DE482F6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7" name="Oval 6">
                <a:extLst>
                  <a:ext uri="{FF2B5EF4-FFF2-40B4-BE49-F238E27FC236}">
                    <a16:creationId xmlns:a16="http://schemas.microsoft.com/office/drawing/2014/main" id="{63539E79-6C9C-D2F6-3DCB-79E97C01E22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8" name="Oval 6">
                <a:extLst>
                  <a:ext uri="{FF2B5EF4-FFF2-40B4-BE49-F238E27FC236}">
                    <a16:creationId xmlns:a16="http://schemas.microsoft.com/office/drawing/2014/main" id="{44B351B4-8779-5A69-56D2-4E6749382043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7EBC6D80-1130-B417-FC0F-E71D241A5FB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65BF840B-8BD9-204D-5956-366A0233417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0F4C5441-3604-658F-DECC-5DC4D164A88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5CE6A90B-E3DB-FE18-A1D1-F55F4158426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51546D30-3F3D-38DB-8698-CB88A0999ADA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043C3C6F-C548-9505-4F47-8C4F4B38B0B7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0953E87E-10DB-3769-2FAF-8DADB9C51C8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529218D-9FD9-0AE8-03BF-852E3FF14F3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07214AC9-7A62-0E99-0B93-C03F252D5235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55455703-086F-3370-53B4-5EC75A908679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3E54E89B-B017-1770-EE65-6B720430FA9A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76190D15-409B-F794-5E96-E6051AC727C0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57" name="Straight Arrow Connector 4">
                <a:extLst>
                  <a:ext uri="{FF2B5EF4-FFF2-40B4-BE49-F238E27FC236}">
                    <a16:creationId xmlns:a16="http://schemas.microsoft.com/office/drawing/2014/main" id="{1DC8E8FC-B9DC-A819-E91E-5BC6944AB7B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8" name="Oval 6">
                <a:extLst>
                  <a:ext uri="{FF2B5EF4-FFF2-40B4-BE49-F238E27FC236}">
                    <a16:creationId xmlns:a16="http://schemas.microsoft.com/office/drawing/2014/main" id="{3F087A4A-AFFD-B4B9-0023-2E822A0AA8C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9" name="Oval 6">
                <a:extLst>
                  <a:ext uri="{FF2B5EF4-FFF2-40B4-BE49-F238E27FC236}">
                    <a16:creationId xmlns:a16="http://schemas.microsoft.com/office/drawing/2014/main" id="{7F06E1A9-60BB-C1D8-D45D-072F6FE4912B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DC1CDB93-2CCE-C68F-9573-9F259CBF5C62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63" name="Rectangle 62">
                  <a:extLst>
                    <a:ext uri="{FF2B5EF4-FFF2-40B4-BE49-F238E27FC236}">
                      <a16:creationId xmlns:a16="http://schemas.microsoft.com/office/drawing/2014/main" id="{34AB7FDB-A9B9-0531-7CB2-A5563522F15A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40A5977C-B7C4-F6AE-693B-265E6D0CC63B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6135C823-7223-B2AB-7BEA-E375DAC81814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>
                      <a:solidFill>
                        <a:srgbClr val="1D3649"/>
                      </a:solidFill>
                    </a:rPr>
                    <a:t>Dez/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62" name="Oval 6">
                <a:extLst>
                  <a:ext uri="{FF2B5EF4-FFF2-40B4-BE49-F238E27FC236}">
                    <a16:creationId xmlns:a16="http://schemas.microsoft.com/office/drawing/2014/main" id="{BA5F2D05-E513-B20A-D0C9-68EF81977E3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335223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77C8B32-B7D6-4DC1-946D-7A4DE77B39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C60F20D7-B98C-7DE0-729A-918B90EE2B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C2174E5-71C9-9713-6EF2-4C7F46AA55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C8B52E2-5ACF-7858-3258-EDBC79FBDF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97E9B1A-08F0-05CE-880B-916A25B0E1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0936515-94CA-E156-3A45-51C353571A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375F25C-F3E4-A195-330F-758A7DEB22C3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4C0A0CE-4FD6-F4C8-2F12-A32C06E8E31F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sessment EL – 05/02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CD21765-4731-8CFB-0FFC-DF7E9AAE11D3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2921942-5EF6-16FF-E30F-FB293D492CBF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ataPower</a:t>
            </a:r>
            <a:endParaRPr lang="pt-BR" sz="1400" b="1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ória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é Guilherme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io Puppo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elo Bast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6/06/2025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52C31324-CCDA-4B18-D2BA-6EE1FCDA331E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3057E38-CFBF-DCC7-DCEA-E07A87D20CBD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381E60A-7325-7C05-2D08-422528C63B80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61BB802-51F4-5ACE-2631-793C7229C87B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5F50997-D8A7-5B1C-D48F-8ED2BFE78E02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282266D-48E9-9304-8915-CB8E314CB92A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ssessment EL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gestores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C6F6585-CFD9-61AF-2FC0-73C7C961FEE8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ssessment EL – 05/02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2797896-6A41-F0D5-009F-4CBBD77E0378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A2E9492-7245-64A7-107C-7D2C091CA0B1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66" name="Straight Arrow Connector 4">
                <a:extLst>
                  <a:ext uri="{FF2B5EF4-FFF2-40B4-BE49-F238E27FC236}">
                    <a16:creationId xmlns:a16="http://schemas.microsoft.com/office/drawing/2014/main" id="{D3790391-217B-A885-18B1-FDFC68FA0BE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7" name="Oval 6">
                <a:extLst>
                  <a:ext uri="{FF2B5EF4-FFF2-40B4-BE49-F238E27FC236}">
                    <a16:creationId xmlns:a16="http://schemas.microsoft.com/office/drawing/2014/main" id="{88BB36DE-2DD3-503E-738B-DF1DB0E9264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8" name="Oval 6">
                <a:extLst>
                  <a:ext uri="{FF2B5EF4-FFF2-40B4-BE49-F238E27FC236}">
                    <a16:creationId xmlns:a16="http://schemas.microsoft.com/office/drawing/2014/main" id="{BB61308A-70E8-FFF7-FF67-871FAD6285A8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4D82F1E9-770E-F968-231B-CFB525281A9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CA6ACFD9-C1AA-EF63-7E51-759E0D64E558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35E8CBD4-A803-2232-FD00-57B67C5AB349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D2C82B8C-3307-36E9-60D7-076FA1B60D50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338BCC4D-ED25-1E58-A572-32BC7AC4D641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F6CA9D8-AA24-AB59-5C26-C4CE9C4CA8ED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CB896A5-6EB1-3488-BFA7-84DC1BC8A344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62C5729-5CB2-717D-8DBD-6C83FBC3073B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06B0BC2-BE08-FDFA-B1ED-19DE57BB9889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2F35C61-494F-842B-8C5B-0F9D7485C2F3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steira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vOp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para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ploy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ataPower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51525DC-6D42-9169-F4B7-208836B2B90A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steira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vOp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para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ploy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ataPower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echado novos times de atendiment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r OKR e definir plano de aç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para Virtu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Firmware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C73A3B11-B509-6FDB-8626-66639CF77356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50" name="Straight Arrow Connector 4">
                <a:extLst>
                  <a:ext uri="{FF2B5EF4-FFF2-40B4-BE49-F238E27FC236}">
                    <a16:creationId xmlns:a16="http://schemas.microsoft.com/office/drawing/2014/main" id="{FBE51708-BC23-7D5A-DB83-31D6A7BBF5A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Oval 6">
                <a:extLst>
                  <a:ext uri="{FF2B5EF4-FFF2-40B4-BE49-F238E27FC236}">
                    <a16:creationId xmlns:a16="http://schemas.microsoft.com/office/drawing/2014/main" id="{2A9BC0CB-F2EE-B137-3B23-F7BC3329EF6C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" name="Oval 6">
                <a:extLst>
                  <a:ext uri="{FF2B5EF4-FFF2-40B4-BE49-F238E27FC236}">
                    <a16:creationId xmlns:a16="http://schemas.microsoft.com/office/drawing/2014/main" id="{5EFB6D31-E37B-4F9A-D42E-6DA4E1F43527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16F669E5-5880-4420-5A59-9B31AD4ACEC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63" name="Rectangle 62">
                  <a:extLst>
                    <a:ext uri="{FF2B5EF4-FFF2-40B4-BE49-F238E27FC236}">
                      <a16:creationId xmlns:a16="http://schemas.microsoft.com/office/drawing/2014/main" id="{CE17416C-E59F-B706-305A-370DF71971F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E42849A1-BBDE-2F9A-A6C2-FBF6E7CEBF3A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92AEAB9C-356E-BFC7-DD65-F5C8AD660A62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62" name="Oval 6">
                <a:extLst>
                  <a:ext uri="{FF2B5EF4-FFF2-40B4-BE49-F238E27FC236}">
                    <a16:creationId xmlns:a16="http://schemas.microsoft.com/office/drawing/2014/main" id="{0B481334-6C0F-7322-6566-09E01F6B2EE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976097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46C38D7-512E-680C-2976-B1EAA9C434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7452290C-F522-3F69-79D7-C8BDD11730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53420F0-3561-3FCB-F076-71270D6AC6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AE03AA1-1641-696D-C233-80CF089E97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9997EC5-EB6C-84AB-FD02-06B4DC4C49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C5E7097-6A7B-D776-9648-B0440CBE2F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F1BBEE0-978D-7D9B-8C7B-BAE68DACF2BF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C8FC877-9329-3BC7-BBE5-B59792D6D570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sessment EL – 05/02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E13FDB3-9626-8388-FB75-264E6C219146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F81BF84-662F-21C3-89CF-772E36C2DB0F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ataPower</a:t>
            </a:r>
            <a:endParaRPr lang="pt-BR" sz="1400" b="1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ória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é Guilherme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io Puppo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elo Bast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6/06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3/07/2025</a:t>
            </a:r>
          </a:p>
          <a:p>
            <a:pPr marL="0" lvl="2" algn="ctr"/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82D5DE31-130C-EC17-0301-D98685A6D9A5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96DCFE5-DFBD-EF92-FCEC-CA3ACA5A0A06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A21D24F-F8AC-F3A2-BE25-32698267985D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3EAE0094-130F-8C58-ABC8-4D64A9DBA7FA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A8D5A45-4B94-3DE4-C629-138F2A73CF13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53B40E4C-25D7-7610-9EE5-9AF7A963AACB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steira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vOp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para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ploy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ataPower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echado novos times de atendiment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r OKR e definir plano de aç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para Virtu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Firmware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D7566B4-4402-9068-CB0E-DFE8FA5FE395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279FBA2-9B70-A6E0-82CC-98CE83E61F7A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ADE7A826-6BDB-D838-6912-8088650BEF14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8" name="Straight Arrow Connector 4">
                <a:extLst>
                  <a:ext uri="{FF2B5EF4-FFF2-40B4-BE49-F238E27FC236}">
                    <a16:creationId xmlns:a16="http://schemas.microsoft.com/office/drawing/2014/main" id="{691D0738-348C-DF29-9A7F-5B4D062988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Oval 6">
                <a:extLst>
                  <a:ext uri="{FF2B5EF4-FFF2-40B4-BE49-F238E27FC236}">
                    <a16:creationId xmlns:a16="http://schemas.microsoft.com/office/drawing/2014/main" id="{AE73D30C-593D-AC00-F49D-EA9B1DDAC7D3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5" name="Oval 6">
                <a:extLst>
                  <a:ext uri="{FF2B5EF4-FFF2-40B4-BE49-F238E27FC236}">
                    <a16:creationId xmlns:a16="http://schemas.microsoft.com/office/drawing/2014/main" id="{1F0966E1-4C5B-DC86-8939-EE7B8F335203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064786F7-2426-4A55-2754-D5DDDDA01C1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58" name="Rectangle 57">
                  <a:extLst>
                    <a:ext uri="{FF2B5EF4-FFF2-40B4-BE49-F238E27FC236}">
                      <a16:creationId xmlns:a16="http://schemas.microsoft.com/office/drawing/2014/main" id="{C0042BE9-043A-092D-F2A0-63FCA5A269B3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0BAA2054-8130-2555-0490-0EBE3508FCBC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4CAB1B5A-999E-5E6A-736E-30C334E5173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7" name="Oval 6">
                <a:extLst>
                  <a:ext uri="{FF2B5EF4-FFF2-40B4-BE49-F238E27FC236}">
                    <a16:creationId xmlns:a16="http://schemas.microsoft.com/office/drawing/2014/main" id="{FF483BD8-72C0-A1D9-3196-BD6AA8A5F6AC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317B13BD-3318-CEA3-5EA5-ABFC2F092580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1F3081BF-D53F-32F3-8581-BD1550C6BB6B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647302DC-9C66-F868-0EE9-97C90445F58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B3E3879-8484-042E-D599-B309B212CD0C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D808A7E-023D-54E0-368B-4B0B7BBFFFCB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F4B60693-3C08-EE35-0432-CF23E7F66AF8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AFC8ADFB-8094-1935-A7D2-E6225F42779A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AA9E99F6-14D6-FE76-CF56-EBCE4A7796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7F4B05C8-CFB2-3F3F-814E-CC039F34BA6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1F3DE357-7632-05AF-5386-8FA91219FFA6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A4C9A89E-FDA0-20E4-8380-C7394E4F1A1E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59E54F2A-570D-2B8B-8A43-6564DDAB0DA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AFE3736F-0FD3-BD85-808E-7E4CAEA9C14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F8352BAD-B904-7424-6901-95DEDD668A5E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>
                      <a:solidFill>
                        <a:srgbClr val="1D3649"/>
                      </a:solidFill>
                    </a:rPr>
                    <a:t>Dez/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7B020AAF-C82D-7806-D9A2-8AC105B373F2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650566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F5E5B5B-2C4C-5CCD-D022-6F6710B8C2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42EFAD0C-C723-FD34-4B12-F31BB46F08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0015223-9C09-19B9-9455-6010155485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15262CD-7F6D-4CE1-B401-836DAD1A8D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A632E0F-10DC-27BA-00CF-DEF8F49835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3149CA0-496C-332F-88EC-B192E83EA5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F979D46-62DC-090D-A15F-70D2A79F0256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72370B1-02F3-CD1A-31CB-563F69D5BA0C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F0118A2-C88D-AEBA-10D7-55ADA5E3E7AC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FA7E9E7-37CF-9C6F-E5F3-7B8B3072D41A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PI &amp; Event </a:t>
            </a:r>
            <a:r>
              <a:rPr lang="pt-BR" sz="1400" b="1" dirty="0" err="1">
                <a:solidFill>
                  <a:schemeClr val="tx1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tream</a:t>
            </a:r>
            <a:r>
              <a:rPr lang="pt-BR" sz="1400" b="1" dirty="0">
                <a:solidFill>
                  <a:schemeClr val="tx1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&amp; Event Automation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ória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to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agão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vacini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Jeferson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6/06/2025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EFC9C831-9978-EA36-30BF-114CFB58764E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2E98A3C-90D0-AEE7-29D8-8BF9121E2F30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B5BBF1C-F1CD-9141-9303-3ED8324AA1CD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4B0F08F-9ECB-8819-5666-61EA1812772C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8EDAD78-39EA-A67A-47BD-EAF1A1EE06BB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8922B77-09D0-575F-C62E-78FE665F9CE9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gestores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D7C356C-833F-C3F8-0C1A-4C5FCA8B7730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D34BE4B-5087-7276-21D4-2EE8C2EF17F9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4E33359-C476-6D0B-A2B5-41FB6ADA6F38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66" name="Straight Arrow Connector 4">
                <a:extLst>
                  <a:ext uri="{FF2B5EF4-FFF2-40B4-BE49-F238E27FC236}">
                    <a16:creationId xmlns:a16="http://schemas.microsoft.com/office/drawing/2014/main" id="{3CAE6098-C89B-2046-11C2-9FF0C9BA0C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7" name="Oval 6">
                <a:extLst>
                  <a:ext uri="{FF2B5EF4-FFF2-40B4-BE49-F238E27FC236}">
                    <a16:creationId xmlns:a16="http://schemas.microsoft.com/office/drawing/2014/main" id="{D979121F-24B8-7584-9545-18667C7D5FF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8" name="Oval 6">
                <a:extLst>
                  <a:ext uri="{FF2B5EF4-FFF2-40B4-BE49-F238E27FC236}">
                    <a16:creationId xmlns:a16="http://schemas.microsoft.com/office/drawing/2014/main" id="{E953FEB8-AEC5-768A-7759-C6187C7E13D0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305BF6FD-6291-822E-43B8-8F82F0B8693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2C16CAC0-931A-E047-03FB-F791761A9D0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8A342FF4-434F-5BBE-74D2-6486D28FF799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EFFA4A58-6D9E-736D-6FDE-DB5912CB7B83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8C3EA1EB-0EF2-2E01-B9AC-5C2D67C8F07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DF5306C-141C-50E8-03B0-1C474AA0E0B5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B25A38F-FD77-B21F-87DA-36188055F4A6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9FA0897-52E2-37BC-F8C1-EDAC206EAF25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575C178-4605-037C-3E32-081829EE6E70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6B6EB54-8CB5-80BB-2F7B-1849D6FE4182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Instalar &amp; rodar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License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rvices</a:t>
              </a:r>
              <a:endParaRPr lang="pt-BR" sz="1000" strike="sngStrik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Event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tream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D75F47A-64B1-7401-252D-FC8109FBDD9C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echado novos times de atendiment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r OKR e definir plano de aç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 Event Automation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233101CF-7095-C678-B0C9-CF7905AC78E4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50" name="Straight Arrow Connector 4">
                <a:extLst>
                  <a:ext uri="{FF2B5EF4-FFF2-40B4-BE49-F238E27FC236}">
                    <a16:creationId xmlns:a16="http://schemas.microsoft.com/office/drawing/2014/main" id="{A0492A79-2D10-0671-5BE4-D59C20DCF8A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Oval 6">
                <a:extLst>
                  <a:ext uri="{FF2B5EF4-FFF2-40B4-BE49-F238E27FC236}">
                    <a16:creationId xmlns:a16="http://schemas.microsoft.com/office/drawing/2014/main" id="{12F180B1-D9A9-D8A4-0C4F-B8B7A3905CD7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" name="Oval 6">
                <a:extLst>
                  <a:ext uri="{FF2B5EF4-FFF2-40B4-BE49-F238E27FC236}">
                    <a16:creationId xmlns:a16="http://schemas.microsoft.com/office/drawing/2014/main" id="{B3C42EF0-FD2E-350B-B72A-D7F05FD6584D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7ED64AED-C536-1EB0-F328-63F39E00903D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63" name="Rectangle 62">
                  <a:extLst>
                    <a:ext uri="{FF2B5EF4-FFF2-40B4-BE49-F238E27FC236}">
                      <a16:creationId xmlns:a16="http://schemas.microsoft.com/office/drawing/2014/main" id="{2C0D0365-1E06-6C45-4E70-546EC28845A3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D1FB4B76-7948-FE00-E3FE-B85538DFFE07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CEAF3807-A7EA-6320-507A-E044E79B2220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62" name="Oval 6">
                <a:extLst>
                  <a:ext uri="{FF2B5EF4-FFF2-40B4-BE49-F238E27FC236}">
                    <a16:creationId xmlns:a16="http://schemas.microsoft.com/office/drawing/2014/main" id="{CE074C75-C61B-EAD7-EB65-8E95C8319B4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218673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D14F14E-7C38-2BC9-5735-606A108E88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2E0143CF-002E-8BDF-3933-89EE9EFB23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3B6A207-051B-9AA9-5896-81FA55A63E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94D2BEA-2048-05B3-295F-15A18DBF20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8D3C53A-EBD7-4111-62CA-4E561FF4F0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BC4BD76-CC3C-5A16-E56A-1FAD5123E8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1BE35E1-B6E8-88E2-3992-EE770A4C9F42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DB5127D-9155-4BDB-26EE-AEE31F322F16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2FDEA71-D834-15E2-4E2F-14B36D135450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55413C1-B0D7-8AE7-CF73-FD986BF2B363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PI &amp; Event </a:t>
            </a:r>
            <a:r>
              <a:rPr lang="pt-BR" sz="1400" b="1" dirty="0" err="1">
                <a:solidFill>
                  <a:schemeClr val="tx1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tream</a:t>
            </a:r>
            <a:r>
              <a:rPr lang="pt-BR" sz="1400" b="1" dirty="0">
                <a:solidFill>
                  <a:schemeClr val="tx1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&amp; Event Automation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ória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to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agão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vacini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Jeferson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6/06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3/07/2025</a:t>
            </a:r>
          </a:p>
          <a:p>
            <a:pPr marL="0" lvl="2" algn="ctr"/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1712768A-12D7-71ED-672E-85585D8F6936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F909F3E-27FB-5A9A-91C9-9B8180C8B9AF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832E10A-EA5D-60F4-8EE2-BB8350255C4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2B20BCF-ADD4-13C6-41AA-EC368BF95E0B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2BEDB60-A50F-1D81-1973-D09E6DF1A8B4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BEB8AA8-C8F7-3B38-C58C-75CB5AE33F40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5C71758-1D03-9B51-0650-E79F8DB23041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F08A5744-B158-A9AE-3B00-5F791DC77B72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E86663CC-4EC1-75B0-6A03-8292389F5B46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8" name="Straight Arrow Connector 4">
                <a:extLst>
                  <a:ext uri="{FF2B5EF4-FFF2-40B4-BE49-F238E27FC236}">
                    <a16:creationId xmlns:a16="http://schemas.microsoft.com/office/drawing/2014/main" id="{D366E2C3-1D76-57C3-AFB8-A598AA39E6A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Oval 6">
                <a:extLst>
                  <a:ext uri="{FF2B5EF4-FFF2-40B4-BE49-F238E27FC236}">
                    <a16:creationId xmlns:a16="http://schemas.microsoft.com/office/drawing/2014/main" id="{4C41096D-341B-2A31-DEA7-09015746F97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5" name="Oval 6">
                <a:extLst>
                  <a:ext uri="{FF2B5EF4-FFF2-40B4-BE49-F238E27FC236}">
                    <a16:creationId xmlns:a16="http://schemas.microsoft.com/office/drawing/2014/main" id="{7F4B909F-3B5D-1881-B466-599407411560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740D4A5E-267E-261D-DE6F-875E189ADDDB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58" name="Rectangle 57">
                  <a:extLst>
                    <a:ext uri="{FF2B5EF4-FFF2-40B4-BE49-F238E27FC236}">
                      <a16:creationId xmlns:a16="http://schemas.microsoft.com/office/drawing/2014/main" id="{3033E07D-EC60-CCF7-66E5-B2A3E7DCABD9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44FF5C0D-E316-61CF-F684-7EDB63658BD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B9A589C5-632B-FF54-DC78-793FC515C34A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7" name="Oval 6">
                <a:extLst>
                  <a:ext uri="{FF2B5EF4-FFF2-40B4-BE49-F238E27FC236}">
                    <a16:creationId xmlns:a16="http://schemas.microsoft.com/office/drawing/2014/main" id="{DAB98467-50A6-225A-6173-B5DAE369751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0E169F21-DBBF-DE74-AFDB-7CFE304AE113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D73E4D1-5941-CF0B-EB20-8AA3904944AE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11F91CC0-8A27-9A02-AD1B-B5485D8C012B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8F5FA62-D89E-0020-E90E-B3CD72DC9A98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FF55BB0-2BA9-644D-190A-A0F2FCC6A2D8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795D76F5-41CE-D4CB-C11B-7DF7DC306845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2B6A0829-2EE1-E951-98F8-4F2C5FEB080B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1DE09B7D-5E40-F70F-FF2A-755E26A56B8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9E3A6BF1-5819-6B30-B520-FBD245A195D1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2A9146D8-AB42-6A31-BA1B-530F49B1E99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88CC19C7-6668-61D0-72D6-3369C2005F0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F17A84F8-F169-1D73-CE66-2A95EE585B64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92AFF289-311B-4C2F-ACF9-4C5E3601752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082D671D-89BD-AE35-9011-39B74A1E90C1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>
                      <a:solidFill>
                        <a:srgbClr val="1D3649"/>
                      </a:solidFill>
                    </a:rPr>
                    <a:t>Dez/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5E79D08A-B75D-9071-21E7-9E0E016218F2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083681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9A6F377-DC29-E7AA-08D2-B54D2F0262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519CE1C-B37B-E98A-C460-D38BA47047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39399FC-91CB-56C8-F787-74DDC1349C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0D28294-65CA-D54B-E854-2F7D934F53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3E51FED-DAA3-52DB-F0BE-4BAA3CC3BD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A8A2DD7-ABBC-203B-88C3-B68FB8A6DF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069A3E3-98F5-B9EA-A0E3-AE77BE43C4FD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1CCBAF7-553B-6484-76A2-A2FAB9B8E5ED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4391882-00BD-1A9F-115A-92E028BC6CC5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8EF283B-3DE2-C70A-F5EF-DF0E208EB5C8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spera</a:t>
            </a:r>
            <a:endParaRPr lang="pt-BR" sz="1400" b="1" dirty="0">
              <a:solidFill>
                <a:schemeClr val="tx1"/>
              </a:solidFill>
              <a:highlight>
                <a:srgbClr val="C0C0C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BC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6/06/2025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589CFA48-82D4-659A-2F62-D65AB6DEF02F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25A043B-89C2-2D25-8276-FB1E32A1CDFB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599CF7B-7A90-F141-35E1-A316ACAAFF15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2A86F3A-BD24-6DDE-0709-838E4AA279E7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6922B01-6A8A-ADDC-E3FD-03C2EA585F06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E78203B-B5EF-2184-04CE-FFB7A054CC7B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gestores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29FE331-F2D9-1BDA-31CA-B3700FCF2AD5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65D318E-B9C7-7E52-CD1B-B166E17ACCCF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959CD39-468C-7CDD-A501-530269B3A72F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66" name="Straight Arrow Connector 4">
                <a:extLst>
                  <a:ext uri="{FF2B5EF4-FFF2-40B4-BE49-F238E27FC236}">
                    <a16:creationId xmlns:a16="http://schemas.microsoft.com/office/drawing/2014/main" id="{E104D0C2-67A1-5917-1370-1EE45874818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7" name="Oval 6">
                <a:extLst>
                  <a:ext uri="{FF2B5EF4-FFF2-40B4-BE49-F238E27FC236}">
                    <a16:creationId xmlns:a16="http://schemas.microsoft.com/office/drawing/2014/main" id="{B59C23E1-F20D-F6F1-CE67-1DA1637B381C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8" name="Oval 6">
                <a:extLst>
                  <a:ext uri="{FF2B5EF4-FFF2-40B4-BE49-F238E27FC236}">
                    <a16:creationId xmlns:a16="http://schemas.microsoft.com/office/drawing/2014/main" id="{60D483B3-E2F9-1CC4-D07F-660E1CD1D2A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1DB87175-9F46-F004-5204-E78D36392B1B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DB302B55-51AD-51CA-93E4-10E1019884F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E6F1E5FA-0DDB-599B-7E88-A55E1F6523AD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6D3BE27C-3B4F-182C-B65B-B3F9B1C9DDE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5CEC998B-751F-18AE-910C-FCEC7844F4AB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EEDC34B-43EA-11AB-4BD9-E5F30F516479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1A04EF7-94DF-268D-477B-9113AFEA506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4192342-2B69-76A4-6B8A-D8BF017A3A91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BA8487D-C907-1293-5502-B2D9681BE8F7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402CCB8-CD5A-84DB-1099-8906FEB0A661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4BFAAC7-A7DB-10EC-78F1-D243C7C4D1BB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echado novos times de atendiment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r OKR e definir plano de aç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C0611136-2ED2-266C-2B8D-C26A9B6EC284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50" name="Straight Arrow Connector 4">
                <a:extLst>
                  <a:ext uri="{FF2B5EF4-FFF2-40B4-BE49-F238E27FC236}">
                    <a16:creationId xmlns:a16="http://schemas.microsoft.com/office/drawing/2014/main" id="{51CB1547-83DE-4FEE-96FE-08F036727A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Oval 6">
                <a:extLst>
                  <a:ext uri="{FF2B5EF4-FFF2-40B4-BE49-F238E27FC236}">
                    <a16:creationId xmlns:a16="http://schemas.microsoft.com/office/drawing/2014/main" id="{92F8944C-903E-0F9B-158E-1B937F755E7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" name="Oval 6">
                <a:extLst>
                  <a:ext uri="{FF2B5EF4-FFF2-40B4-BE49-F238E27FC236}">
                    <a16:creationId xmlns:a16="http://schemas.microsoft.com/office/drawing/2014/main" id="{07D3CD76-8AA2-2A70-4211-E491E27B84D6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4EA305FB-8E9E-D713-CEE4-ADF480E63B0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63" name="Rectangle 62">
                  <a:extLst>
                    <a:ext uri="{FF2B5EF4-FFF2-40B4-BE49-F238E27FC236}">
                      <a16:creationId xmlns:a16="http://schemas.microsoft.com/office/drawing/2014/main" id="{0AE79986-C66A-E288-E770-91DC657AF252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811F9327-FFCD-91C0-3D19-903B5586882B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ECF549B1-4594-404C-F204-06C093A92AB4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62" name="Oval 6">
                <a:extLst>
                  <a:ext uri="{FF2B5EF4-FFF2-40B4-BE49-F238E27FC236}">
                    <a16:creationId xmlns:a16="http://schemas.microsoft.com/office/drawing/2014/main" id="{9EADE267-7BE7-0EBE-F21B-A6A5D1D5EF5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197650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AFB88E6-030B-1624-2850-59642BBE8E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D70F5138-950F-E1D5-D71E-F007767EB8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9B2F3AB-94EA-1663-0E8E-7CCBA1D9B1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05927CF-346F-54F9-574C-06ED1F51AD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8356EE-A07A-CFE0-2BA0-CF57978311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E8820A1-DB10-00B6-F26D-3131E4DFC7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62C4057-D67F-5CC0-933D-CF07F3026471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902BFBF-5DFB-9806-8792-BDF7C1FB00B6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7CB0E41-10C9-CCEA-B227-0028FBA27BFE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5D44B86-6F01-BD07-5F76-A0CAE83104C4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spera</a:t>
            </a:r>
            <a:endParaRPr lang="pt-BR" sz="1400" b="1" dirty="0">
              <a:solidFill>
                <a:schemeClr val="tx1"/>
              </a:solidFill>
              <a:highlight>
                <a:srgbClr val="C0C0C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BC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6/06/2025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8135EB66-3BCE-1EE1-301A-4A10DC3F4C22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5880689-43A4-5A43-09D2-2AC407AB7075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1FFF6E8-36D6-1605-CBFD-03648BC3E026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5AA8BD2-2442-C9DF-3F9B-522209547759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FEBD4A8-1CD3-117B-51A1-9938A7EF4006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F17EDB34-ED80-442A-9285-79C942F9A6F8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1B705DE-EE8C-280D-5501-D23442A96179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66E8E98A-F839-864E-AA45-876BADDFFF65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933EE61E-12E6-F8BD-30CC-B13DD1472422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8" name="Straight Arrow Connector 4">
                <a:extLst>
                  <a:ext uri="{FF2B5EF4-FFF2-40B4-BE49-F238E27FC236}">
                    <a16:creationId xmlns:a16="http://schemas.microsoft.com/office/drawing/2014/main" id="{81E26FEC-FE2A-B750-4994-5FC92D4DED1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Oval 6">
                <a:extLst>
                  <a:ext uri="{FF2B5EF4-FFF2-40B4-BE49-F238E27FC236}">
                    <a16:creationId xmlns:a16="http://schemas.microsoft.com/office/drawing/2014/main" id="{9F87FF5D-ADDB-1958-26B4-D2001ACC59A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5" name="Oval 6">
                <a:extLst>
                  <a:ext uri="{FF2B5EF4-FFF2-40B4-BE49-F238E27FC236}">
                    <a16:creationId xmlns:a16="http://schemas.microsoft.com/office/drawing/2014/main" id="{F17A5D8C-363A-4834-1C9C-1923FF3478E2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1920FD13-F1C4-C923-32DB-1508C9B994D3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58" name="Rectangle 57">
                  <a:extLst>
                    <a:ext uri="{FF2B5EF4-FFF2-40B4-BE49-F238E27FC236}">
                      <a16:creationId xmlns:a16="http://schemas.microsoft.com/office/drawing/2014/main" id="{3EBAFF38-C14C-898C-E315-0E95922FAD3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F414C487-72C3-5BC9-3946-99EF3D9F9CA9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ABB800B8-AA1A-5B07-325A-377420CA4A31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7" name="Oval 6">
                <a:extLst>
                  <a:ext uri="{FF2B5EF4-FFF2-40B4-BE49-F238E27FC236}">
                    <a16:creationId xmlns:a16="http://schemas.microsoft.com/office/drawing/2014/main" id="{88637282-BF1D-DA0B-5403-8C0B57FDC13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E776E221-0A67-A147-9F7F-A5BC1F9D7A7A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4473AB3-AC91-47AA-4E7D-25786348ABC5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346B0BF-93B5-F378-E1E7-C160101C4F46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856CEA5D-409F-4304-D3AC-1A9CB4103DEB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B828B9E-9EAF-CDBF-50C8-20719A91827A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64B8791-696C-76A5-B857-B9715D7EDD71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2664F690-398B-84ED-67B5-9B4A7F054E3F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56B189D4-ABB2-52B4-9D86-3BD8F077488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07941236-6AFF-A95C-5BCD-A572664E6F3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BE871D68-1213-F429-E6B2-2AE01F41FBCE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7475C122-DF8D-D55B-7840-CF3D471DCB6D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DA7E3746-724C-ADEB-5770-8CA92A00BC40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A52387D6-9EB3-99DB-9B3E-859FDCAA52C8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C68AEA82-1653-134E-32A8-E9CF3201026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>
                      <a:solidFill>
                        <a:srgbClr val="1D3649"/>
                      </a:solidFill>
                    </a:rPr>
                    <a:t>Dez/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ED990495-C31B-9499-73BA-BA6C9BF06937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862572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" name="Rectangle 3">
            <a:extLst>
              <a:ext uri="{FF2B5EF4-FFF2-40B4-BE49-F238E27FC236}">
                <a16:creationId xmlns:a16="http://schemas.microsoft.com/office/drawing/2014/main" id="{78E997BD-2EFD-1D31-F558-8F81B797E9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B8318AD-913B-8377-C38A-BF896D25B8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C56D8F0-1127-89AB-1055-22BA99A314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D02950B-6E30-44E6-B02B-2432BDAFC4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F980ABE-0ADF-E025-0756-0DC7A8DCAB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B035EAD-5601-68BD-812A-127723ACE88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en-US" sz="360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Seg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41400)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AAA917BB-54B8-4AA3-48D4-24D4E553B7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0973091"/>
              </p:ext>
            </p:extLst>
          </p:nvPr>
        </p:nvGraphicFramePr>
        <p:xfrm>
          <a:off x="274154" y="1203767"/>
          <a:ext cx="11578321" cy="12142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1595679878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1743803749"/>
                    </a:ext>
                  </a:extLst>
                </a:gridCol>
                <a:gridCol w="1705622">
                  <a:extLst>
                    <a:ext uri="{9D8B030D-6E8A-4147-A177-3AD203B41FA5}">
                      <a16:colId xmlns:a16="http://schemas.microsoft.com/office/drawing/2014/main" val="4019112796"/>
                    </a:ext>
                  </a:extLst>
                </a:gridCol>
                <a:gridCol w="1087509">
                  <a:extLst>
                    <a:ext uri="{9D8B030D-6E8A-4147-A177-3AD203B41FA5}">
                      <a16:colId xmlns:a16="http://schemas.microsoft.com/office/drawing/2014/main" val="2953344599"/>
                    </a:ext>
                  </a:extLst>
                </a:gridCol>
                <a:gridCol w="505926">
                  <a:extLst>
                    <a:ext uri="{9D8B030D-6E8A-4147-A177-3AD203B41FA5}">
                      <a16:colId xmlns:a16="http://schemas.microsoft.com/office/drawing/2014/main" val="806385850"/>
                    </a:ext>
                  </a:extLst>
                </a:gridCol>
                <a:gridCol w="389984">
                  <a:extLst>
                    <a:ext uri="{9D8B030D-6E8A-4147-A177-3AD203B41FA5}">
                      <a16:colId xmlns:a16="http://schemas.microsoft.com/office/drawing/2014/main" val="206000986"/>
                    </a:ext>
                  </a:extLst>
                </a:gridCol>
                <a:gridCol w="1201573">
                  <a:extLst>
                    <a:ext uri="{9D8B030D-6E8A-4147-A177-3AD203B41FA5}">
                      <a16:colId xmlns:a16="http://schemas.microsoft.com/office/drawing/2014/main" val="1444745235"/>
                    </a:ext>
                  </a:extLst>
                </a:gridCol>
                <a:gridCol w="310563">
                  <a:extLst>
                    <a:ext uri="{9D8B030D-6E8A-4147-A177-3AD203B41FA5}">
                      <a16:colId xmlns:a16="http://schemas.microsoft.com/office/drawing/2014/main" val="157435212"/>
                    </a:ext>
                  </a:extLst>
                </a:gridCol>
                <a:gridCol w="416688">
                  <a:extLst>
                    <a:ext uri="{9D8B030D-6E8A-4147-A177-3AD203B41FA5}">
                      <a16:colId xmlns:a16="http://schemas.microsoft.com/office/drawing/2014/main" val="1854774079"/>
                    </a:ext>
                  </a:extLst>
                </a:gridCol>
                <a:gridCol w="405114">
                  <a:extLst>
                    <a:ext uri="{9D8B030D-6E8A-4147-A177-3AD203B41FA5}">
                      <a16:colId xmlns:a16="http://schemas.microsoft.com/office/drawing/2014/main" val="3904112106"/>
                    </a:ext>
                  </a:extLst>
                </a:gridCol>
                <a:gridCol w="555585">
                  <a:extLst>
                    <a:ext uri="{9D8B030D-6E8A-4147-A177-3AD203B41FA5}">
                      <a16:colId xmlns:a16="http://schemas.microsoft.com/office/drawing/2014/main" val="4001967012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4214292887"/>
                    </a:ext>
                  </a:extLst>
                </a:gridCol>
                <a:gridCol w="729735">
                  <a:extLst>
                    <a:ext uri="{9D8B030D-6E8A-4147-A177-3AD203B41FA5}">
                      <a16:colId xmlns:a16="http://schemas.microsoft.com/office/drawing/2014/main" val="1519295886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3298505036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stomer number</a:t>
                      </a:r>
                    </a:p>
                  </a:txBody>
                  <a:tcPr marL="8773" marR="8773" marT="877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Product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Case number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Typ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Statu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Status description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PRI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NED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UPDAT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CLOSED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010416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004140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App Connect Enterpris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sng" strike="noStrike">
                          <a:effectLst/>
                          <a:hlinkClick r:id="rId4"/>
                        </a:rPr>
                        <a:t>TS015663910</a:t>
                      </a:r>
                      <a:endParaRPr lang="en-US" sz="10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Clos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Closed - Archiv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2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2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3-08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2024-04-26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2024-03-27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51095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004140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MQ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sng" strike="noStrike">
                          <a:effectLst/>
                          <a:hlinkClick r:id="rId5"/>
                        </a:rPr>
                        <a:t>TS016275734</a:t>
                      </a:r>
                      <a:endParaRPr lang="en-US" sz="10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Clos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Closed - Archiv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2024-05-2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2024-08-04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2024-07-0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93203982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004140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Event Streams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sng" strike="noStrike">
                          <a:effectLst/>
                          <a:hlinkClick r:id="rId6"/>
                        </a:rPr>
                        <a:t>TS017961296</a:t>
                      </a:r>
                      <a:endParaRPr lang="en-US" sz="10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Clos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Closed - Archiv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2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1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2024-12-02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2025-02-06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2025-01-07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408837890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004140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App Connect Enterpris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sng" strike="noStrike">
                          <a:effectLst/>
                          <a:hlinkClick r:id="rId7"/>
                        </a:rPr>
                        <a:t>TS018306218</a:t>
                      </a:r>
                      <a:endParaRPr lang="en-US" sz="10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Clos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Closed - Archiv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4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4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2025-01-21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2025-02-21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5-01-2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4200684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3807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74A2155-4275-C69B-A816-F57B07944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6DFF65BD-8655-5970-016B-E1EBE8E941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9BA96E6-00CA-C692-D840-3151BA1B34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A92ACCF-6108-AA1B-87FE-42AA26F77B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44BCDE8-0BD6-81B0-4708-262E64D2E4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C9C82C-E552-217E-058F-E916D90246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B280295-31B0-824E-3881-40C6413761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Referências Externas (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</a:t>
            </a: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: Gartner)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ternal reference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96DA28-2CF0-53E4-B557-497FA0DADF74}"/>
              </a:ext>
            </a:extLst>
          </p:cNvPr>
          <p:cNvSpPr>
            <a:spLocks/>
          </p:cNvSpPr>
          <p:nvPr/>
        </p:nvSpPr>
        <p:spPr>
          <a:xfrm>
            <a:off x="104820" y="1688044"/>
            <a:ext cx="7330361" cy="324378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dirty="0">
                <a:solidFill>
                  <a:schemeClr val="tx1"/>
                </a:solidFill>
              </a:rPr>
              <a:t>Passo 1 – Escolher o produto para avaliar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6CB63B2-2B2E-D356-8FE6-D030D652417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40" t="5982" r="4354"/>
          <a:stretch/>
        </p:blipFill>
        <p:spPr>
          <a:xfrm>
            <a:off x="256150" y="2227949"/>
            <a:ext cx="980336" cy="99249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5917ABA-B6FF-E4D9-E3A9-E47ECA7F6DEA}"/>
              </a:ext>
            </a:extLst>
          </p:cNvPr>
          <p:cNvSpPr/>
          <p:nvPr/>
        </p:nvSpPr>
        <p:spPr>
          <a:xfrm>
            <a:off x="889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CE/Broker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9DACFEA-7823-37AC-4168-03A81935A6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3368" y="2238337"/>
            <a:ext cx="978873" cy="97247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5E87DF1-15E0-A4B8-FF64-A952218A656C}"/>
              </a:ext>
            </a:extLst>
          </p:cNvPr>
          <p:cNvSpPr/>
          <p:nvPr/>
        </p:nvSpPr>
        <p:spPr>
          <a:xfrm>
            <a:off x="1279694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Event </a:t>
            </a:r>
            <a:r>
              <a:rPr lang="pt-BR" sz="1400" b="1" dirty="0" err="1">
                <a:solidFill>
                  <a:schemeClr val="tx1"/>
                </a:solidFill>
              </a:rPr>
              <a:t>Stream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CEAA5BD-F6E9-5D07-1EE8-6230F741CA08}"/>
              </a:ext>
            </a:extLst>
          </p:cNvPr>
          <p:cNvSpPr/>
          <p:nvPr/>
        </p:nvSpPr>
        <p:spPr>
          <a:xfrm>
            <a:off x="24275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MQ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91E4D1F-9FF8-30F0-747B-B6188F888D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0977" y="2212204"/>
            <a:ext cx="1061332" cy="103560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9D210A9-EC96-1E5C-AD42-ADEE0A1E4B3B}"/>
              </a:ext>
            </a:extLst>
          </p:cNvPr>
          <p:cNvSpPr txBox="1"/>
          <p:nvPr/>
        </p:nvSpPr>
        <p:spPr>
          <a:xfrm>
            <a:off x="5856336" y="2192279"/>
            <a:ext cx="1586137" cy="2554545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5"/>
              </a:rPr>
              <a:t>IBM-CP4I-ACE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6"/>
              </a:rPr>
              <a:t>IBM-CP4I-Asper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7"/>
              </a:rPr>
              <a:t>IBM-CP4I-EventStream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MQ-U$25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fontAlgn="base"/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APIC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9"/>
              </a:rPr>
              <a:t>IBM-CP4A-WAS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0"/>
              </a:rPr>
              <a:t>IBM-CP4A-WebSphereLibertyCore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1"/>
              </a:rPr>
              <a:t>IBM-CP4BA-BAW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2"/>
              </a:rPr>
              <a:t>IBM-CP4BA-FilenetContentManager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3"/>
              </a:rPr>
              <a:t>IBM-CP4BA-ODM-U$25</a:t>
            </a:r>
            <a:b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</a:b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4"/>
              </a:rPr>
              <a:t>IBM-CP4BA-ProcessMining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5"/>
              </a:rPr>
              <a:t>IBM-CP4BA-RP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  <a:hlinkClick r:id="" action="ppaction://noaction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" action="ppaction://noaction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6"/>
              </a:rPr>
              <a:t>Instan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Turbonomic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u="sng" dirty="0">
                <a:solidFill>
                  <a:srgbClr val="000000"/>
                </a:solidFill>
                <a:highlight>
                  <a:srgbClr val="FFFFFF"/>
                </a:highlight>
                <a:latin typeface="Aptos" panose="020B0004020202020204" pitchFamily="34" charset="0"/>
                <a:hlinkClick r:id="rId18"/>
              </a:rPr>
              <a:t>IBM-Turbonomic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0BDCE5A-35CF-49D2-5F43-D5A383BD9527}"/>
              </a:ext>
            </a:extLst>
          </p:cNvPr>
          <p:cNvGrpSpPr/>
          <p:nvPr/>
        </p:nvGrpSpPr>
        <p:grpSpPr>
          <a:xfrm>
            <a:off x="7442521" y="1688045"/>
            <a:ext cx="4637285" cy="3243782"/>
            <a:chOff x="393230" y="4218935"/>
            <a:chExt cx="4630422" cy="251753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14722CA-030E-4CF1-C04B-F777C6BB1EFB}"/>
                </a:ext>
              </a:extLst>
            </p:cNvPr>
            <p:cNvSpPr>
              <a:spLocks/>
            </p:cNvSpPr>
            <p:nvPr/>
          </p:nvSpPr>
          <p:spPr>
            <a:xfrm>
              <a:off x="393230" y="4218935"/>
              <a:ext cx="4630422" cy="251753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2 – Avaliar (tudo é </a:t>
              </a:r>
              <a:r>
                <a:rPr lang="pt-BR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nônimo</a:t>
              </a:r>
              <a:r>
                <a:rPr lang="pt-BR" dirty="0">
                  <a:solidFill>
                    <a:schemeClr val="tx1"/>
                  </a:solidFill>
                </a:rPr>
                <a:t>!)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9" name="Picture 2">
              <a:extLst>
                <a:ext uri="{FF2B5EF4-FFF2-40B4-BE49-F238E27FC236}">
                  <a16:creationId xmlns:a16="http://schemas.microsoft.com/office/drawing/2014/main" id="{00CCE18E-62AE-24D8-A51B-D7147980A3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981" y="4647421"/>
              <a:ext cx="3757508" cy="1653884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E31721B-F0FA-BA43-AE51-C3E563C9511C}"/>
              </a:ext>
            </a:extLst>
          </p:cNvPr>
          <p:cNvGrpSpPr/>
          <p:nvPr/>
        </p:nvGrpSpPr>
        <p:grpSpPr>
          <a:xfrm>
            <a:off x="104820" y="4920395"/>
            <a:ext cx="7337653" cy="1751870"/>
            <a:chOff x="7135092" y="1975174"/>
            <a:chExt cx="7220159" cy="183648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F7F0F9E-E411-7753-82BB-A5D2471B7DE2}"/>
                </a:ext>
              </a:extLst>
            </p:cNvPr>
            <p:cNvSpPr>
              <a:spLocks/>
            </p:cNvSpPr>
            <p:nvPr/>
          </p:nvSpPr>
          <p:spPr>
            <a:xfrm>
              <a:off x="7135092" y="1975174"/>
              <a:ext cx="7220159" cy="183648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3 – Mandar </a:t>
              </a:r>
              <a:r>
                <a:rPr lang="pt-BR" dirty="0" err="1">
                  <a:solidFill>
                    <a:schemeClr val="tx1"/>
                  </a:solidFill>
                </a:rPr>
                <a:t>email</a:t>
              </a:r>
              <a:r>
                <a:rPr lang="pt-BR" dirty="0">
                  <a:solidFill>
                    <a:schemeClr val="tx1"/>
                  </a:solidFill>
                </a:rPr>
                <a:t> para alexandre.zanetti@br.ibm.com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F611ABB5-1854-634D-7840-C50FEDC611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938466" y="2500813"/>
              <a:ext cx="1188019" cy="1195444"/>
            </a:xfrm>
            <a:prstGeom prst="rect">
              <a:avLst/>
            </a:prstGeom>
          </p:spPr>
        </p:pic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8AD8BA60-FF5A-1217-A9AC-1C01E9716E74}"/>
                </a:ext>
              </a:extLst>
            </p:cNvPr>
            <p:cNvGrpSpPr/>
            <p:nvPr/>
          </p:nvGrpSpPr>
          <p:grpSpPr>
            <a:xfrm>
              <a:off x="7963320" y="2572536"/>
              <a:ext cx="1301703" cy="1123722"/>
              <a:chOff x="8586744" y="3002334"/>
              <a:chExt cx="941167" cy="812482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4CAC8AE6-0316-DA48-F322-44147C8D189F}"/>
                  </a:ext>
                </a:extLst>
              </p:cNvPr>
              <p:cNvSpPr/>
              <p:nvPr/>
            </p:nvSpPr>
            <p:spPr>
              <a:xfrm>
                <a:off x="8586744" y="3002334"/>
                <a:ext cx="723900" cy="812482"/>
              </a:xfrm>
              <a:custGeom>
                <a:avLst/>
                <a:gdLst>
                  <a:gd name="connsiteX0" fmla="*/ 600075 w 723900"/>
                  <a:gd name="connsiteY0" fmla="*/ 200749 h 812482"/>
                  <a:gd name="connsiteX1" fmla="*/ 600075 w 723900"/>
                  <a:gd name="connsiteY1" fmla="*/ 107633 h 812482"/>
                  <a:gd name="connsiteX2" fmla="*/ 490471 w 723900"/>
                  <a:gd name="connsiteY2" fmla="*/ 107633 h 812482"/>
                  <a:gd name="connsiteX3" fmla="*/ 361950 w 723900"/>
                  <a:gd name="connsiteY3" fmla="*/ 0 h 812482"/>
                  <a:gd name="connsiteX4" fmla="*/ 233429 w 723900"/>
                  <a:gd name="connsiteY4" fmla="*/ 107633 h 812482"/>
                  <a:gd name="connsiteX5" fmla="*/ 123825 w 723900"/>
                  <a:gd name="connsiteY5" fmla="*/ 107633 h 812482"/>
                  <a:gd name="connsiteX6" fmla="*/ 123825 w 723900"/>
                  <a:gd name="connsiteY6" fmla="*/ 200749 h 812482"/>
                  <a:gd name="connsiteX7" fmla="*/ 0 w 723900"/>
                  <a:gd name="connsiteY7" fmla="*/ 303171 h 812482"/>
                  <a:gd name="connsiteX8" fmla="*/ 0 w 723900"/>
                  <a:gd name="connsiteY8" fmla="*/ 812483 h 812482"/>
                  <a:gd name="connsiteX9" fmla="*/ 723900 w 723900"/>
                  <a:gd name="connsiteY9" fmla="*/ 812483 h 812482"/>
                  <a:gd name="connsiteX10" fmla="*/ 723900 w 723900"/>
                  <a:gd name="connsiteY10" fmla="*/ 303171 h 812482"/>
                  <a:gd name="connsiteX11" fmla="*/ 600075 w 723900"/>
                  <a:gd name="connsiteY11" fmla="*/ 225514 h 812482"/>
                  <a:gd name="connsiteX12" fmla="*/ 700240 w 723900"/>
                  <a:gd name="connsiteY12" fmla="*/ 308381 h 812482"/>
                  <a:gd name="connsiteX13" fmla="*/ 600075 w 723900"/>
                  <a:gd name="connsiteY13" fmla="*/ 408489 h 812482"/>
                  <a:gd name="connsiteX14" fmla="*/ 361950 w 723900"/>
                  <a:gd name="connsiteY14" fmla="*/ 24813 h 812482"/>
                  <a:gd name="connsiteX15" fmla="*/ 460800 w 723900"/>
                  <a:gd name="connsiteY15" fmla="*/ 107633 h 812482"/>
                  <a:gd name="connsiteX16" fmla="*/ 263100 w 723900"/>
                  <a:gd name="connsiteY16" fmla="*/ 107633 h 812482"/>
                  <a:gd name="connsiteX17" fmla="*/ 142875 w 723900"/>
                  <a:gd name="connsiteY17" fmla="*/ 126683 h 812482"/>
                  <a:gd name="connsiteX18" fmla="*/ 581025 w 723900"/>
                  <a:gd name="connsiteY18" fmla="*/ 126683 h 812482"/>
                  <a:gd name="connsiteX19" fmla="*/ 581025 w 723900"/>
                  <a:gd name="connsiteY19" fmla="*/ 427539 h 812482"/>
                  <a:gd name="connsiteX20" fmla="*/ 466230 w 723900"/>
                  <a:gd name="connsiteY20" fmla="*/ 542334 h 812482"/>
                  <a:gd name="connsiteX21" fmla="*/ 257632 w 723900"/>
                  <a:gd name="connsiteY21" fmla="*/ 542334 h 812482"/>
                  <a:gd name="connsiteX22" fmla="*/ 142875 w 723900"/>
                  <a:gd name="connsiteY22" fmla="*/ 427539 h 812482"/>
                  <a:gd name="connsiteX23" fmla="*/ 123825 w 723900"/>
                  <a:gd name="connsiteY23" fmla="*/ 225476 h 812482"/>
                  <a:gd name="connsiteX24" fmla="*/ 123825 w 723900"/>
                  <a:gd name="connsiteY24" fmla="*/ 408489 h 812482"/>
                  <a:gd name="connsiteX25" fmla="*/ 23660 w 723900"/>
                  <a:gd name="connsiteY25" fmla="*/ 308324 h 812482"/>
                  <a:gd name="connsiteX26" fmla="*/ 19212 w 723900"/>
                  <a:gd name="connsiteY26" fmla="*/ 330813 h 812482"/>
                  <a:gd name="connsiteX27" fmla="*/ 243707 w 723900"/>
                  <a:gd name="connsiteY27" fmla="*/ 555308 h 812482"/>
                  <a:gd name="connsiteX28" fmla="*/ 19212 w 723900"/>
                  <a:gd name="connsiteY28" fmla="*/ 779802 h 812482"/>
                  <a:gd name="connsiteX29" fmla="*/ 19078 w 723900"/>
                  <a:gd name="connsiteY29" fmla="*/ 779801 h 812482"/>
                  <a:gd name="connsiteX30" fmla="*/ 19050 w 723900"/>
                  <a:gd name="connsiteY30" fmla="*/ 779736 h 812482"/>
                  <a:gd name="connsiteX31" fmla="*/ 19050 w 723900"/>
                  <a:gd name="connsiteY31" fmla="*/ 330879 h 812482"/>
                  <a:gd name="connsiteX32" fmla="*/ 19146 w 723900"/>
                  <a:gd name="connsiteY32" fmla="*/ 330785 h 812482"/>
                  <a:gd name="connsiteX33" fmla="*/ 19212 w 723900"/>
                  <a:gd name="connsiteY33" fmla="*/ 330813 h 812482"/>
                  <a:gd name="connsiteX34" fmla="*/ 32747 w 723900"/>
                  <a:gd name="connsiteY34" fmla="*/ 793433 h 812482"/>
                  <a:gd name="connsiteX35" fmla="*/ 32653 w 723900"/>
                  <a:gd name="connsiteY35" fmla="*/ 793336 h 812482"/>
                  <a:gd name="connsiteX36" fmla="*/ 32680 w 723900"/>
                  <a:gd name="connsiteY36" fmla="*/ 793271 h 812482"/>
                  <a:gd name="connsiteX37" fmla="*/ 260928 w 723900"/>
                  <a:gd name="connsiteY37" fmla="*/ 565033 h 812482"/>
                  <a:gd name="connsiteX38" fmla="*/ 462972 w 723900"/>
                  <a:gd name="connsiteY38" fmla="*/ 565033 h 812482"/>
                  <a:gd name="connsiteX39" fmla="*/ 691220 w 723900"/>
                  <a:gd name="connsiteY39" fmla="*/ 793271 h 812482"/>
                  <a:gd name="connsiteX40" fmla="*/ 691219 w 723900"/>
                  <a:gd name="connsiteY40" fmla="*/ 793405 h 812482"/>
                  <a:gd name="connsiteX41" fmla="*/ 691153 w 723900"/>
                  <a:gd name="connsiteY41" fmla="*/ 793433 h 812482"/>
                  <a:gd name="connsiteX42" fmla="*/ 704688 w 723900"/>
                  <a:gd name="connsiteY42" fmla="*/ 779802 h 812482"/>
                  <a:gd name="connsiteX43" fmla="*/ 480193 w 723900"/>
                  <a:gd name="connsiteY43" fmla="*/ 555308 h 812482"/>
                  <a:gd name="connsiteX44" fmla="*/ 704688 w 723900"/>
                  <a:gd name="connsiteY44" fmla="*/ 330813 h 812482"/>
                  <a:gd name="connsiteX45" fmla="*/ 704822 w 723900"/>
                  <a:gd name="connsiteY45" fmla="*/ 330814 h 812482"/>
                  <a:gd name="connsiteX46" fmla="*/ 704850 w 723900"/>
                  <a:gd name="connsiteY46" fmla="*/ 330879 h 812482"/>
                  <a:gd name="connsiteX47" fmla="*/ 704850 w 723900"/>
                  <a:gd name="connsiteY47" fmla="*/ 779736 h 812482"/>
                  <a:gd name="connsiteX48" fmla="*/ 704754 w 723900"/>
                  <a:gd name="connsiteY48" fmla="*/ 779830 h 812482"/>
                  <a:gd name="connsiteX49" fmla="*/ 704688 w 723900"/>
                  <a:gd name="connsiteY49" fmla="*/ 779802 h 812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723900" h="812482">
                    <a:moveTo>
                      <a:pt x="600075" y="200749"/>
                    </a:moveTo>
                    <a:lnTo>
                      <a:pt x="600075" y="107633"/>
                    </a:lnTo>
                    <a:lnTo>
                      <a:pt x="490471" y="107633"/>
                    </a:lnTo>
                    <a:lnTo>
                      <a:pt x="361950" y="0"/>
                    </a:lnTo>
                    <a:lnTo>
                      <a:pt x="233429" y="107633"/>
                    </a:lnTo>
                    <a:lnTo>
                      <a:pt x="123825" y="107633"/>
                    </a:lnTo>
                    <a:lnTo>
                      <a:pt x="123825" y="200749"/>
                    </a:lnTo>
                    <a:lnTo>
                      <a:pt x="0" y="303171"/>
                    </a:lnTo>
                    <a:lnTo>
                      <a:pt x="0" y="812483"/>
                    </a:lnTo>
                    <a:lnTo>
                      <a:pt x="723900" y="812483"/>
                    </a:lnTo>
                    <a:lnTo>
                      <a:pt x="723900" y="303171"/>
                    </a:lnTo>
                    <a:close/>
                    <a:moveTo>
                      <a:pt x="600075" y="225514"/>
                    </a:moveTo>
                    <a:lnTo>
                      <a:pt x="700240" y="308381"/>
                    </a:lnTo>
                    <a:lnTo>
                      <a:pt x="600075" y="408489"/>
                    </a:lnTo>
                    <a:close/>
                    <a:moveTo>
                      <a:pt x="361950" y="24813"/>
                    </a:moveTo>
                    <a:lnTo>
                      <a:pt x="460800" y="107633"/>
                    </a:lnTo>
                    <a:lnTo>
                      <a:pt x="263100" y="107633"/>
                    </a:lnTo>
                    <a:close/>
                    <a:moveTo>
                      <a:pt x="142875" y="126683"/>
                    </a:moveTo>
                    <a:lnTo>
                      <a:pt x="581025" y="126683"/>
                    </a:lnTo>
                    <a:lnTo>
                      <a:pt x="581025" y="427539"/>
                    </a:lnTo>
                    <a:lnTo>
                      <a:pt x="466230" y="542334"/>
                    </a:lnTo>
                    <a:cubicBezTo>
                      <a:pt x="405944" y="491621"/>
                      <a:pt x="317918" y="491621"/>
                      <a:pt x="257632" y="542334"/>
                    </a:cubicBezTo>
                    <a:lnTo>
                      <a:pt x="142875" y="427539"/>
                    </a:lnTo>
                    <a:close/>
                    <a:moveTo>
                      <a:pt x="123825" y="225476"/>
                    </a:moveTo>
                    <a:lnTo>
                      <a:pt x="123825" y="408489"/>
                    </a:lnTo>
                    <a:lnTo>
                      <a:pt x="23660" y="308324"/>
                    </a:lnTo>
                    <a:close/>
                    <a:moveTo>
                      <a:pt x="19212" y="330813"/>
                    </a:moveTo>
                    <a:lnTo>
                      <a:pt x="243707" y="555308"/>
                    </a:lnTo>
                    <a:lnTo>
                      <a:pt x="19212" y="779802"/>
                    </a:lnTo>
                    <a:cubicBezTo>
                      <a:pt x="19175" y="779839"/>
                      <a:pt x="19114" y="779838"/>
                      <a:pt x="19078" y="779801"/>
                    </a:cubicBezTo>
                    <a:cubicBezTo>
                      <a:pt x="19060" y="779783"/>
                      <a:pt x="19050" y="779760"/>
                      <a:pt x="19050" y="779736"/>
                    </a:cubicBezTo>
                    <a:lnTo>
                      <a:pt x="19050" y="330879"/>
                    </a:lnTo>
                    <a:cubicBezTo>
                      <a:pt x="19051" y="330827"/>
                      <a:pt x="19094" y="330785"/>
                      <a:pt x="19146" y="330785"/>
                    </a:cubicBezTo>
                    <a:cubicBezTo>
                      <a:pt x="19171" y="330786"/>
                      <a:pt x="19195" y="330796"/>
                      <a:pt x="19212" y="330813"/>
                    </a:cubicBezTo>
                    <a:close/>
                    <a:moveTo>
                      <a:pt x="32747" y="793433"/>
                    </a:moveTo>
                    <a:cubicBezTo>
                      <a:pt x="32695" y="793432"/>
                      <a:pt x="32653" y="793389"/>
                      <a:pt x="32653" y="793336"/>
                    </a:cubicBezTo>
                    <a:cubicBezTo>
                      <a:pt x="32654" y="793312"/>
                      <a:pt x="32663" y="793288"/>
                      <a:pt x="32680" y="793271"/>
                    </a:cubicBezTo>
                    <a:lnTo>
                      <a:pt x="260928" y="565033"/>
                    </a:lnTo>
                    <a:cubicBezTo>
                      <a:pt x="316755" y="509323"/>
                      <a:pt x="407145" y="509323"/>
                      <a:pt x="462972" y="565033"/>
                    </a:cubicBezTo>
                    <a:lnTo>
                      <a:pt x="691220" y="793271"/>
                    </a:lnTo>
                    <a:cubicBezTo>
                      <a:pt x="691257" y="793308"/>
                      <a:pt x="691256" y="793369"/>
                      <a:pt x="691219" y="793405"/>
                    </a:cubicBezTo>
                    <a:cubicBezTo>
                      <a:pt x="691201" y="793422"/>
                      <a:pt x="691178" y="793433"/>
                      <a:pt x="691153" y="793433"/>
                    </a:cubicBezTo>
                    <a:close/>
                    <a:moveTo>
                      <a:pt x="704688" y="779802"/>
                    </a:moveTo>
                    <a:lnTo>
                      <a:pt x="480193" y="555308"/>
                    </a:lnTo>
                    <a:lnTo>
                      <a:pt x="704688" y="330813"/>
                    </a:lnTo>
                    <a:cubicBezTo>
                      <a:pt x="704725" y="330776"/>
                      <a:pt x="704786" y="330777"/>
                      <a:pt x="704822" y="330814"/>
                    </a:cubicBezTo>
                    <a:cubicBezTo>
                      <a:pt x="704840" y="330832"/>
                      <a:pt x="704850" y="330855"/>
                      <a:pt x="704850" y="330879"/>
                    </a:cubicBezTo>
                    <a:lnTo>
                      <a:pt x="704850" y="779736"/>
                    </a:lnTo>
                    <a:cubicBezTo>
                      <a:pt x="704849" y="779788"/>
                      <a:pt x="704806" y="779830"/>
                      <a:pt x="704754" y="779830"/>
                    </a:cubicBezTo>
                    <a:cubicBezTo>
                      <a:pt x="704729" y="779829"/>
                      <a:pt x="704705" y="779819"/>
                      <a:pt x="704688" y="7798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pic>
            <p:nvPicPr>
              <p:cNvPr id="26" name="Picture 2">
                <a:extLst>
                  <a:ext uri="{FF2B5EF4-FFF2-40B4-BE49-F238E27FC236}">
                    <a16:creationId xmlns:a16="http://schemas.microsoft.com/office/drawing/2014/main" id="{AFB1F271-F1B9-2EA3-8107-E2A92553E79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9800000">
                <a:off x="8705997" y="3008282"/>
                <a:ext cx="821914" cy="3617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4" name="Arrow: Right 23">
              <a:extLst>
                <a:ext uri="{FF2B5EF4-FFF2-40B4-BE49-F238E27FC236}">
                  <a16:creationId xmlns:a16="http://schemas.microsoft.com/office/drawing/2014/main" id="{38F7807C-EFAE-D70C-04C3-E621989CAF9F}"/>
                </a:ext>
              </a:extLst>
            </p:cNvPr>
            <p:cNvSpPr/>
            <p:nvPr/>
          </p:nvSpPr>
          <p:spPr>
            <a:xfrm>
              <a:off x="9178281" y="2871297"/>
              <a:ext cx="760135" cy="775504"/>
            </a:xfrm>
            <a:prstGeom prst="rightArrow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95B266D-2D1B-116A-0331-ABD4AE58200A}"/>
              </a:ext>
            </a:extLst>
          </p:cNvPr>
          <p:cNvGrpSpPr/>
          <p:nvPr/>
        </p:nvGrpSpPr>
        <p:grpSpPr>
          <a:xfrm>
            <a:off x="7161017" y="4697310"/>
            <a:ext cx="5023644" cy="2160690"/>
            <a:chOff x="7168343" y="4697310"/>
            <a:chExt cx="5023644" cy="2160690"/>
          </a:xfrm>
        </p:grpSpPr>
        <p:pic>
          <p:nvPicPr>
            <p:cNvPr id="28" name="logo2-04.png" descr="logo2-04.png">
              <a:extLst>
                <a:ext uri="{FF2B5EF4-FFF2-40B4-BE49-F238E27FC236}">
                  <a16:creationId xmlns:a16="http://schemas.microsoft.com/office/drawing/2014/main" id="{836C9D34-5BF9-6FAC-F509-231C11181590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0058399" y="6257883"/>
              <a:ext cx="2028783" cy="600117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82F8BBC-EF52-0641-D4D8-7CF680FC2B5E}"/>
                </a:ext>
              </a:extLst>
            </p:cNvPr>
            <p:cNvSpPr>
              <a:spLocks/>
            </p:cNvSpPr>
            <p:nvPr/>
          </p:nvSpPr>
          <p:spPr>
            <a:xfrm>
              <a:off x="7449847" y="4920395"/>
              <a:ext cx="4637332" cy="17518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4 – Em alguns produtos.. .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30" name="Picture 4" descr="Earn a $25 gift card!">
              <a:extLst>
                <a:ext uri="{FF2B5EF4-FFF2-40B4-BE49-F238E27FC236}">
                  <a16:creationId xmlns:a16="http://schemas.microsoft.com/office/drawing/2014/main" id="{CA7A78AD-BAB8-DB71-AF72-3BFA2CC998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8343" y="5562744"/>
              <a:ext cx="4918837" cy="1093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Star: 32 Points 30">
              <a:extLst>
                <a:ext uri="{FF2B5EF4-FFF2-40B4-BE49-F238E27FC236}">
                  <a16:creationId xmlns:a16="http://schemas.microsoft.com/office/drawing/2014/main" id="{1546A2FE-0ADB-A092-8F29-15B67F4E56CA}"/>
                </a:ext>
              </a:extLst>
            </p:cNvPr>
            <p:cNvSpPr/>
            <p:nvPr/>
          </p:nvSpPr>
          <p:spPr>
            <a:xfrm>
              <a:off x="10062246" y="4697310"/>
              <a:ext cx="2129741" cy="1182018"/>
            </a:xfrm>
            <a:prstGeom prst="star32">
              <a:avLst/>
            </a:prstGeom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 err="1">
                  <a:solidFill>
                    <a:schemeClr val="tx1"/>
                  </a:solidFill>
                </a:rPr>
                <a:t>Gift</a:t>
              </a:r>
              <a:r>
                <a:rPr lang="pt-BR" dirty="0">
                  <a:solidFill>
                    <a:schemeClr val="tx1"/>
                  </a:solidFill>
                </a:rPr>
                <a:t> card U$ 25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FBD14A4D-2632-384E-CDA4-D194D2CCA7BC}"/>
              </a:ext>
            </a:extLst>
          </p:cNvPr>
          <p:cNvSpPr/>
          <p:nvPr/>
        </p:nvSpPr>
        <p:spPr>
          <a:xfrm>
            <a:off x="3596503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P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FA88926A-1808-8ABE-55A9-50D4C28C3AA4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721673" y="2207187"/>
            <a:ext cx="1043221" cy="1043221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852BF676-A0A0-D66A-E2B7-61732170D9D3}"/>
              </a:ext>
            </a:extLst>
          </p:cNvPr>
          <p:cNvSpPr/>
          <p:nvPr/>
        </p:nvSpPr>
        <p:spPr>
          <a:xfrm>
            <a:off x="256150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RP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F3F3F9B-B15F-FEF0-CB91-9B2579F5F90A}"/>
              </a:ext>
            </a:extLst>
          </p:cNvPr>
          <p:cNvSpPr/>
          <p:nvPr/>
        </p:nvSpPr>
        <p:spPr>
          <a:xfrm>
            <a:off x="1252325" y="3370216"/>
            <a:ext cx="1315483" cy="258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Process</a:t>
            </a:r>
            <a:r>
              <a:rPr lang="pt-BR" sz="1400" b="1" dirty="0">
                <a:solidFill>
                  <a:schemeClr val="tx1"/>
                </a:solidFill>
              </a:rPr>
              <a:t> Mining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D357924-DDAE-CDF4-2365-C27E920C7210}"/>
              </a:ext>
            </a:extLst>
          </p:cNvPr>
          <p:cNvSpPr/>
          <p:nvPr/>
        </p:nvSpPr>
        <p:spPr>
          <a:xfrm>
            <a:off x="242854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BAW/BPM</a:t>
            </a:r>
            <a:endParaRPr lang="en-US" sz="1400" b="1" dirty="0">
              <a:solidFill>
                <a:schemeClr val="tx1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17CC18D-B412-BC1D-8494-04181714A8F9}"/>
              </a:ext>
            </a:extLst>
          </p:cNvPr>
          <p:cNvGrpSpPr/>
          <p:nvPr/>
        </p:nvGrpSpPr>
        <p:grpSpPr>
          <a:xfrm>
            <a:off x="225013" y="3612862"/>
            <a:ext cx="4539309" cy="1106319"/>
            <a:chOff x="225013" y="2498977"/>
            <a:chExt cx="5423434" cy="1321798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07A647D6-AC4A-E061-B8EA-C2BE66D25C0D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225013" y="2498977"/>
              <a:ext cx="1246954" cy="1294009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87B0A923-1AF6-3B1B-F1C3-F10CE03525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617675" y="2540660"/>
              <a:ext cx="1242329" cy="1266220"/>
            </a:xfrm>
            <a:prstGeom prst="rect">
              <a:avLst/>
            </a:prstGeom>
          </p:spPr>
        </p:pic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7B628CA2-9F13-4F64-A4A7-E3C80F10B5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005713" y="2526766"/>
              <a:ext cx="1309886" cy="1294009"/>
            </a:xfrm>
            <a:prstGeom prst="rect">
              <a:avLst/>
            </a:prstGeom>
          </p:spPr>
        </p:pic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4E273C2B-1EF4-16FC-8FE8-361CE23FBD2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4398530" y="2550248"/>
              <a:ext cx="1249917" cy="1242006"/>
            </a:xfrm>
            <a:prstGeom prst="rect">
              <a:avLst/>
            </a:prstGeom>
          </p:spPr>
        </p:pic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9486FCA2-793E-AE65-F424-88F09D02A350}"/>
              </a:ext>
            </a:extLst>
          </p:cNvPr>
          <p:cNvSpPr/>
          <p:nvPr/>
        </p:nvSpPr>
        <p:spPr>
          <a:xfrm>
            <a:off x="360268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Filenet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DB122F3-AD3E-3F3A-1591-181C330E5D8F}"/>
              </a:ext>
            </a:extLst>
          </p:cNvPr>
          <p:cNvSpPr/>
          <p:nvPr/>
        </p:nvSpPr>
        <p:spPr>
          <a:xfrm>
            <a:off x="4728780" y="196259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Turbonom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C9E87E9B-A66C-A020-DFD9-E71EEA7ADCC7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786096" y="2164503"/>
            <a:ext cx="1183459" cy="1098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066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A6BFFEC-1304-3A5C-BFF8-2991C5E9A961}"/>
              </a:ext>
            </a:extLst>
          </p:cNvPr>
          <p:cNvSpPr txBox="1">
            <a:spLocks/>
          </p:cNvSpPr>
          <p:nvPr/>
        </p:nvSpPr>
        <p:spPr bwMode="auto">
          <a:xfrm>
            <a:off x="280417" y="268224"/>
            <a:ext cx="8530609" cy="451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</a:rPr>
              <a:t>Agenda</a:t>
            </a: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4F13B2B3-0098-14C6-4598-640B655A99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09BA1D0-45F1-1660-384B-4B1043BFC997}"/>
              </a:ext>
            </a:extLst>
          </p:cNvPr>
          <p:cNvSpPr txBox="1"/>
          <p:nvPr/>
        </p:nvSpPr>
        <p:spPr>
          <a:xfrm>
            <a:off x="280417" y="1596147"/>
            <a:ext cx="6661906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 err="1"/>
              <a:t>Apresentação</a:t>
            </a:r>
            <a:r>
              <a:rPr lang="en-US" sz="2400" dirty="0"/>
              <a:t> do CSM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Licenciament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Licen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Ciclo de vida / </a:t>
            </a:r>
            <a:r>
              <a:rPr lang="en-US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Product Lifecycl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tividade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ctiviti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Desafi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halleng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Chamad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a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Pont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dicionai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dditional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info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666C7F2F-6226-68C2-8804-B15852190F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409324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EEB53BB-ADE1-67F3-A517-DF503BA85A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3D98EF-F834-2478-D8DC-4BDAFEAC68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B8270C-2F29-B3A4-6CDA-596843EB19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3B6545-67FD-746C-0311-AF590B0C7C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18DD988-30F5-E455-7D20-46BF4FCA46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62FCA1F-3CDA-12BF-8A91-144EBFEBCC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529A1860-31C4-47CF-C8EE-445BDF12F9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92D3D94-15EB-DB7E-17CF-8CFE7001345A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ibm%20Datapower</a:t>
            </a:r>
            <a:r>
              <a:rPr lang="en-US" sz="800" dirty="0"/>
              <a:t> 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C2D00BE-97E4-F5CA-B1BA-C96DA4E27694}"/>
              </a:ext>
            </a:extLst>
          </p:cNvPr>
          <p:cNvCxnSpPr>
            <a:cxnSpLocks/>
          </p:cNvCxnSpPr>
          <p:nvPr/>
        </p:nvCxnSpPr>
        <p:spPr>
          <a:xfrm>
            <a:off x="1031892" y="4704203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82E7EA00-ACB1-AB01-2338-591504981BA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r="12598"/>
          <a:stretch/>
        </p:blipFill>
        <p:spPr>
          <a:xfrm>
            <a:off x="1064265" y="2492486"/>
            <a:ext cx="8994134" cy="155302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7217482-C395-26FD-8957-3C3F53D1DE93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57531"/>
          <a:stretch/>
        </p:blipFill>
        <p:spPr>
          <a:xfrm>
            <a:off x="1108572" y="4045514"/>
            <a:ext cx="8849423" cy="64308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E4A15C7-C7B7-ED0B-79B1-EF9064030A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580AD1E-D32D-8609-0665-3E2BB1D90F84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4274E2E5-51ED-67F2-EC8D-32E03C11605F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7074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76C4A64-BF0B-AA6A-82E7-1D5DD97908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C31252D6-7DB8-EC0F-0BE6-5C52F58A56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150E85D-861B-8BD8-0A43-F19965D053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17A7CF3-43A7-C4B6-8DB8-A4F2FFA51D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DC0EEC-CBDE-30AA-B922-51E3928834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03F508D-A3FC-EB88-BCB5-31A4A5D5EE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55327C8-0428-3C99-59B6-3C0A191B9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A6D7B257-AF5C-1C2B-F6F6-74A449292F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72C852D-63EF-93A6-1933-6D4C2BF44DC8}"/>
              </a:ext>
            </a:extLst>
          </p:cNvPr>
          <p:cNvSpPr txBox="1"/>
          <p:nvPr/>
        </p:nvSpPr>
        <p:spPr>
          <a:xfrm>
            <a:off x="184458" y="6512612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p%20connect%20enterprise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integration%20bus</a:t>
            </a:r>
            <a:r>
              <a:rPr lang="en-US" sz="800" dirty="0"/>
              <a:t> 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AF635FD-C220-2E8A-0B6B-FB88F05AF00C}"/>
              </a:ext>
            </a:extLst>
          </p:cNvPr>
          <p:cNvCxnSpPr>
            <a:cxnSpLocks/>
          </p:cNvCxnSpPr>
          <p:nvPr/>
        </p:nvCxnSpPr>
        <p:spPr>
          <a:xfrm>
            <a:off x="1031892" y="4704203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7EAE98B7-B9AD-B057-0A85-64ABFEB2D57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2598"/>
          <a:stretch/>
        </p:blipFill>
        <p:spPr>
          <a:xfrm>
            <a:off x="1064265" y="2492486"/>
            <a:ext cx="8994134" cy="155302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E024BAE-0C2B-4615-3603-7865283313E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57531"/>
          <a:stretch/>
        </p:blipFill>
        <p:spPr>
          <a:xfrm>
            <a:off x="1108572" y="4045514"/>
            <a:ext cx="8849423" cy="64308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F29444A-20C4-6CB9-CB16-7DD11A5C31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E747713-14E5-461C-3415-94ADAC731D62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39D4FFF7-EA9F-10E9-1F34-00F30E88F7BE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72866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EBD9567-45A2-4B1A-F52D-526889EE3D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0B42A3A-03F1-F86F-9CF5-8BE4DC38D8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2D8567-B0C9-CCEC-AE85-95C7DB16E2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98C72B-4C97-D59D-06BA-37740A139C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788699C-076F-9379-B988-56644EC4D5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373FE2C-4918-882D-CAB8-18FB7CA85B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9C18EA3-8D3E-99F8-9994-5693B1A9E9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A504415-6C33-16D6-4BD7-B59A430A499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525"/>
          <a:stretch/>
        </p:blipFill>
        <p:spPr>
          <a:xfrm>
            <a:off x="1026588" y="3199646"/>
            <a:ext cx="10212052" cy="44172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469AACB-5D3E-23A8-5C22-1AAFD1F21D5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3765"/>
          <a:stretch/>
        </p:blipFill>
        <p:spPr>
          <a:xfrm>
            <a:off x="1034454" y="2535022"/>
            <a:ext cx="10212052" cy="628304"/>
          </a:xfrm>
          <a:prstGeom prst="rect">
            <a:avLst/>
          </a:prstGeom>
        </p:spPr>
      </p:pic>
      <p:pic>
        <p:nvPicPr>
          <p:cNvPr id="18" name="logo2-04.png" descr="logo2-04.png">
            <a:extLst>
              <a:ext uri="{FF2B5EF4-FFF2-40B4-BE49-F238E27FC236}">
                <a16:creationId xmlns:a16="http://schemas.microsoft.com/office/drawing/2014/main" id="{9AB4DE79-782F-F692-7314-B1B92EDDCE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4F9D1DE-AF87-B50E-96C9-7C96B5E6E3DC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4"/>
              </a:rPr>
              <a:t>https://www.ibm.com/support/pages/lifecycle/search?q=ibm%20mq</a:t>
            </a:r>
            <a:r>
              <a:rPr lang="en-US" sz="800" dirty="0"/>
              <a:t> 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2FE6D06-08F5-95AB-6484-5190F6B9B5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4454" y="2491879"/>
            <a:ext cx="8919128" cy="388737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D460F8B-625C-937A-CCBD-5E1A7BB4B4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D9E6AA1-CF5B-69D2-DF4F-E31105CE9272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640EA2C-BFC7-CC9D-B8DB-09F920166649}"/>
              </a:ext>
            </a:extLst>
          </p:cNvPr>
          <p:cNvCxnSpPr>
            <a:cxnSpLocks/>
          </p:cNvCxnSpPr>
          <p:nvPr/>
        </p:nvCxnSpPr>
        <p:spPr>
          <a:xfrm>
            <a:off x="1031892" y="636824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3C70620D-8F56-CC6C-E010-E56BD5A88E4C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1165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CF65997-ACAE-BB55-97AD-11941A96D6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5D6FC64-D9D4-800A-61CE-195E8AC83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4060DE-E969-DDA8-70D9-F5C6193D05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53FBAC6-0F8A-5819-623B-C9A724A058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F24D0C-6EF2-6EF5-5F6C-70670897F0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4F06B5-BA39-33D3-2373-8ACB14CCBF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51C9E3F-B34A-C3D7-BAC1-2C04894AB6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E22F0611-FB40-566E-B12F-97B368CB0F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CCC9319-EDB8-50C9-EE47-A1ADC4A439CB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0F143CF-8D3E-71CF-844F-E4D5A0BCFC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FA5AD2D-2F83-E889-6C00-78742D39C969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9DCBBB9-71AC-0ACF-4994-605A0F6BC4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3809" y="2482536"/>
            <a:ext cx="8905519" cy="2971344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C97F38A-6F2B-F632-3AEA-B0AD26AB7D3E}"/>
              </a:ext>
            </a:extLst>
          </p:cNvPr>
          <p:cNvSpPr/>
          <p:nvPr/>
        </p:nvSpPr>
        <p:spPr>
          <a:xfrm>
            <a:off x="1108573" y="2497170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D5A46EB-20E8-3023-2CD6-51E27446A7CB}"/>
              </a:ext>
            </a:extLst>
          </p:cNvPr>
          <p:cNvCxnSpPr>
            <a:cxnSpLocks/>
          </p:cNvCxnSpPr>
          <p:nvPr/>
        </p:nvCxnSpPr>
        <p:spPr>
          <a:xfrm>
            <a:off x="1031892" y="540977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51033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E0578CB-78FB-5397-1359-5C5C755F3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E658CE5-AE70-ED8E-11F9-CC2F726D0B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A5ACD1-A7C0-E2EB-0BAA-737BCD3F37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3E15A48-36D4-ABEF-56C2-7D386A2C33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376446B-0F96-82E9-4AF2-15CA650455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BEE8C95-0E36-173E-8715-1B9AC3E7AB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AD21E17-EDD4-55A6-4382-2043371C0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3D8B9ECA-C429-88A0-C86A-83D8AEE109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84A60BD-1D02-B0F6-C2C5-17576F9DEAB2}"/>
              </a:ext>
            </a:extLst>
          </p:cNvPr>
          <p:cNvSpPr txBox="1"/>
          <p:nvPr/>
        </p:nvSpPr>
        <p:spPr>
          <a:xfrm>
            <a:off x="184458" y="6385290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event%20automation</a:t>
            </a:r>
            <a:r>
              <a:rPr lang="en-US" sz="800" dirty="0"/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806D520-DA20-5326-B25F-C8511ADFB2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2880" y="2572947"/>
            <a:ext cx="9916038" cy="96346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C96B4DE-5B0D-1F18-81E4-D15BF5711C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1745AAF-7C80-B52A-216A-156073425606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545E56F6-36BA-AE3F-E3B6-82CF4FBDC96F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81E21E8-51E8-38C2-97AA-E65D5F3A7D7F}"/>
              </a:ext>
            </a:extLst>
          </p:cNvPr>
          <p:cNvCxnSpPr>
            <a:cxnSpLocks/>
          </p:cNvCxnSpPr>
          <p:nvPr/>
        </p:nvCxnSpPr>
        <p:spPr>
          <a:xfrm>
            <a:off x="1031892" y="353641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654930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9FF7149-72BA-1C3D-0122-9DD6F6EC6E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B0BB87D1-31AE-47C0-FEC8-C9D78CC6AF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AAC0C6-FEA2-8C3E-247E-B674857509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1F2813E-A0D7-C94B-08C0-AB900681FD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F7CF989-45B2-6A50-201A-BED92CCBEF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2A9CCC5-7737-E922-90EB-F3C9236374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F74A3AB-EA79-C475-929B-1811D6F46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3E56FBD8-4E9D-09B4-17B9-4CC6E68645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C6646CE-2BAE-00B1-74CF-1694A4BAFC7A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9C72B22-606F-AA93-748A-B8D662E6F0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CA41F534-6782-641F-4FCB-742022EED7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8573" y="2574289"/>
            <a:ext cx="9875244" cy="3427141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C66674E-0A5D-2130-9FF2-F2D2351EB745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944A941D-0B8F-FB56-1E72-BECEAC3D22A6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B5B8A0F-FFA7-BDFF-7AE2-2CEEC949A0F2}"/>
              </a:ext>
            </a:extLst>
          </p:cNvPr>
          <p:cNvCxnSpPr>
            <a:cxnSpLocks/>
          </p:cNvCxnSpPr>
          <p:nvPr/>
        </p:nvCxnSpPr>
        <p:spPr>
          <a:xfrm>
            <a:off x="1031892" y="6012446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10A7A218-2464-64CD-D158-D3432F24C63A}"/>
              </a:ext>
            </a:extLst>
          </p:cNvPr>
          <p:cNvSpPr/>
          <p:nvPr/>
        </p:nvSpPr>
        <p:spPr>
          <a:xfrm>
            <a:off x="1108573" y="4031263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5D180E4-6CFE-C152-9770-08FC1F15BEEF}"/>
              </a:ext>
            </a:extLst>
          </p:cNvPr>
          <p:cNvSpPr/>
          <p:nvPr/>
        </p:nvSpPr>
        <p:spPr>
          <a:xfrm>
            <a:off x="1108573" y="516227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8276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21F70DC-4976-0C27-8145-4C09FD39D7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1C69DE6-46CA-4B05-947F-A3539849EB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FF8B246-281B-E04A-3202-4EB750A030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935DE83-148A-7728-FAF8-455EA9D0B6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5BCCEDB-AC97-3D73-2A0B-48CFDA14E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82DBD6-2A6B-44A3-9A0F-C7513CB497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3F15D5-01E7-9E5C-35C5-CDED6F95F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6" name="logo2-04.png" descr="logo2-04.png">
            <a:extLst>
              <a:ext uri="{FF2B5EF4-FFF2-40B4-BE49-F238E27FC236}">
                <a16:creationId xmlns:a16="http://schemas.microsoft.com/office/drawing/2014/main" id="{5BE80F29-4B1C-19FD-F9E4-3E4305F21E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C5E421E-DB5D-E82F-DE53-43065FF95317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C02FD2B-3180-9044-34BC-1019D9FE30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68A19EF-3F87-DBB8-24A3-56C4A3176552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951" r="8808" b="10334"/>
          <a:stretch/>
        </p:blipFill>
        <p:spPr>
          <a:xfrm>
            <a:off x="1108573" y="2616943"/>
            <a:ext cx="8734180" cy="3483639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A4ABCBB-5B72-5FD2-CD58-3524AEC6EEBF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9698308B-E0DD-84B3-EEC8-6E14C07893B0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F5AB65D-A3E0-2813-B7C9-EB9C1D0F8052}"/>
              </a:ext>
            </a:extLst>
          </p:cNvPr>
          <p:cNvCxnSpPr>
            <a:cxnSpLocks/>
          </p:cNvCxnSpPr>
          <p:nvPr/>
        </p:nvCxnSpPr>
        <p:spPr>
          <a:xfrm>
            <a:off x="1031892" y="6100582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5F7329C5-5652-58AC-8CE2-0D28A42D2E85}"/>
              </a:ext>
            </a:extLst>
          </p:cNvPr>
          <p:cNvSpPr/>
          <p:nvPr/>
        </p:nvSpPr>
        <p:spPr>
          <a:xfrm>
            <a:off x="1108573" y="4853885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0DE90AE-412F-261F-3982-C25730F243DD}"/>
              </a:ext>
            </a:extLst>
          </p:cNvPr>
          <p:cNvSpPr/>
          <p:nvPr/>
        </p:nvSpPr>
        <p:spPr>
          <a:xfrm>
            <a:off x="1108573" y="347821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F7D89EA-FC1A-B3E0-8D3A-D27508AABD72}"/>
              </a:ext>
            </a:extLst>
          </p:cNvPr>
          <p:cNvSpPr/>
          <p:nvPr/>
        </p:nvSpPr>
        <p:spPr>
          <a:xfrm>
            <a:off x="1108573" y="5692106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50147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32A44A-80AF-9084-7278-EC47C3874D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a 3">
            <a:extLst>
              <a:ext uri="{FF2B5EF4-FFF2-40B4-BE49-F238E27FC236}">
                <a16:creationId xmlns:a16="http://schemas.microsoft.com/office/drawing/2014/main" id="{B6A0960A-5837-D618-312A-24929D43D8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3785150"/>
              </p:ext>
            </p:extLst>
          </p:nvPr>
        </p:nvGraphicFramePr>
        <p:xfrm>
          <a:off x="3741779" y="524314"/>
          <a:ext cx="8250400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3497">
                  <a:extLst>
                    <a:ext uri="{9D8B030D-6E8A-4147-A177-3AD203B41FA5}">
                      <a16:colId xmlns:a16="http://schemas.microsoft.com/office/drawing/2014/main" val="3186576710"/>
                    </a:ext>
                  </a:extLst>
                </a:gridCol>
                <a:gridCol w="627553">
                  <a:extLst>
                    <a:ext uri="{9D8B030D-6E8A-4147-A177-3AD203B41FA5}">
                      <a16:colId xmlns:a16="http://schemas.microsoft.com/office/drawing/2014/main" val="2341789982"/>
                    </a:ext>
                  </a:extLst>
                </a:gridCol>
                <a:gridCol w="824249">
                  <a:extLst>
                    <a:ext uri="{9D8B030D-6E8A-4147-A177-3AD203B41FA5}">
                      <a16:colId xmlns:a16="http://schemas.microsoft.com/office/drawing/2014/main" val="2112668355"/>
                    </a:ext>
                  </a:extLst>
                </a:gridCol>
                <a:gridCol w="624505">
                  <a:extLst>
                    <a:ext uri="{9D8B030D-6E8A-4147-A177-3AD203B41FA5}">
                      <a16:colId xmlns:a16="http://schemas.microsoft.com/office/drawing/2014/main" val="1977786441"/>
                    </a:ext>
                  </a:extLst>
                </a:gridCol>
                <a:gridCol w="3589755">
                  <a:extLst>
                    <a:ext uri="{9D8B030D-6E8A-4147-A177-3AD203B41FA5}">
                      <a16:colId xmlns:a16="http://schemas.microsoft.com/office/drawing/2014/main" val="1961297883"/>
                    </a:ext>
                  </a:extLst>
                </a:gridCol>
                <a:gridCol w="714898">
                  <a:extLst>
                    <a:ext uri="{9D8B030D-6E8A-4147-A177-3AD203B41FA5}">
                      <a16:colId xmlns:a16="http://schemas.microsoft.com/office/drawing/2014/main" val="1183770746"/>
                    </a:ext>
                  </a:extLst>
                </a:gridCol>
                <a:gridCol w="675943">
                  <a:extLst>
                    <a:ext uri="{9D8B030D-6E8A-4147-A177-3AD203B41FA5}">
                      <a16:colId xmlns:a16="http://schemas.microsoft.com/office/drawing/2014/main" val="2190282539"/>
                    </a:ext>
                  </a:extLst>
                </a:gridCol>
              </a:tblGrid>
              <a:tr h="228189"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Produ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err="1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Sev</a:t>
                      </a:r>
                      <a:endParaRPr lang="pt-BR" sz="11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err="1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escription</a:t>
                      </a:r>
                      <a:endParaRPr lang="pt-BR" sz="11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ata Aber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ata Fecha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3286118"/>
                  </a:ext>
                </a:extLst>
              </a:tr>
              <a:tr h="228189">
                <a:tc>
                  <a:txBody>
                    <a:bodyPr/>
                    <a:lstStyle/>
                    <a:p>
                      <a:pPr marL="0" algn="l" defTabSz="914377" rtl="0" eaLnBrk="1" fontAlgn="ctr" latinLnBrk="0" hangingPunct="1"/>
                      <a:endParaRPr lang="en-US" sz="1400" u="none" strike="noStrike" kern="1200" dirty="0">
                        <a:solidFill>
                          <a:srgbClr val="0F62FE"/>
                        </a:solidFill>
                        <a:effectLst/>
                        <a:latin typeface="inheri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dirty="0">
                        <a:solidFill>
                          <a:srgbClr val="161616"/>
                        </a:solidFill>
                        <a:effectLst/>
                        <a:latin typeface="inheri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400" u="none" strike="noStrike" kern="1200" dirty="0">
                        <a:solidFill>
                          <a:srgbClr val="161616"/>
                        </a:solidFill>
                        <a:effectLst/>
                        <a:latin typeface="inheri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u="none" strike="noStrike" kern="1200" dirty="0">
                        <a:solidFill>
                          <a:srgbClr val="161616"/>
                        </a:solidFill>
                        <a:effectLst/>
                        <a:latin typeface="inheri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u="none" strike="noStrike" kern="1200" dirty="0">
                        <a:solidFill>
                          <a:srgbClr val="161616"/>
                        </a:solidFill>
                        <a:effectLst/>
                        <a:latin typeface="inheri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de-DE" sz="1000" dirty="0">
                        <a:solidFill>
                          <a:srgbClr val="161616"/>
                        </a:solidFill>
                        <a:effectLst/>
                        <a:latin typeface="inheri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pt-BR" sz="1000" dirty="0">
                        <a:solidFill>
                          <a:srgbClr val="161616"/>
                        </a:solidFill>
                        <a:effectLst/>
                        <a:latin typeface="inheri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16279156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6A5CEA5-987B-408C-78BA-94F1523D8319}"/>
              </a:ext>
            </a:extLst>
          </p:cNvPr>
          <p:cNvSpPr txBox="1"/>
          <p:nvPr/>
        </p:nvSpPr>
        <p:spPr>
          <a:xfrm>
            <a:off x="0" y="3075057"/>
            <a:ext cx="36449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200" dirty="0">
                <a:solidFill>
                  <a:schemeClr val="bg1"/>
                </a:solidFill>
                <a:latin typeface="+mj-lt"/>
              </a:rPr>
              <a:t>Chamados</a:t>
            </a:r>
          </a:p>
          <a:p>
            <a:pPr algn="r"/>
            <a:r>
              <a:rPr lang="en-US" sz="3200" dirty="0">
                <a:solidFill>
                  <a:schemeClr val="bg1"/>
                </a:solidFill>
                <a:latin typeface="+mj-lt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esco</a:t>
            </a:r>
            <a:r>
              <a:rPr lang="en-US" sz="3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  (0050200)</a:t>
            </a:r>
          </a:p>
          <a:p>
            <a:pPr algn="r"/>
            <a:r>
              <a:rPr lang="en-US" sz="3200" dirty="0">
                <a:solidFill>
                  <a:schemeClr val="bg1"/>
                </a:solidFill>
                <a:latin typeface="+mj-lt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Seg</a:t>
            </a:r>
            <a:r>
              <a:rPr lang="en-US" sz="3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  (0041400)</a:t>
            </a:r>
            <a:endParaRPr lang="pt-BR" sz="3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20495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F64F2182-4498-065B-3CA2-CF5D27C7F3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8D904DB5-F5E0-2EB0-F061-F7BFE3A8D7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77FCDF6-20E8-F309-B158-849AE30ECB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551DC4B-C934-1138-84E1-51CE7CCF6F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CA8022D-72AA-1048-BD11-BFAD406F9D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9CB2D18-33A2-3920-15A5-78745A2651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logo2-04.png" descr="logo2-04.png">
            <a:extLst>
              <a:ext uri="{FF2B5EF4-FFF2-40B4-BE49-F238E27FC236}">
                <a16:creationId xmlns:a16="http://schemas.microsoft.com/office/drawing/2014/main" id="{32E9242E-D355-34FC-E16F-7A81B43D07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9049AECD-9F97-CB30-F586-2D68DED5E5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uso de licenças nos Cloud 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aks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license usag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E182A8E-278A-DA1C-C214-5A3BC8211C5F}"/>
              </a:ext>
            </a:extLst>
          </p:cNvPr>
          <p:cNvSpPr txBox="1"/>
          <p:nvPr/>
        </p:nvSpPr>
        <p:spPr>
          <a:xfrm>
            <a:off x="104818" y="6491595"/>
            <a:ext cx="609442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>
                <a:hlinkClick r:id="rId3"/>
              </a:rPr>
              <a:t>https://app.ibmsalesconfigurator.com/#/</a:t>
            </a:r>
            <a:r>
              <a:rPr lang="en-US" sz="900" dirty="0"/>
              <a:t> 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EE745D5-6E87-6932-04A1-3B60D8A721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8570" y="1328207"/>
            <a:ext cx="3981623" cy="4708804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4346895A-0DB9-D69A-57E4-4EC5FE5109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04619" y="1301226"/>
            <a:ext cx="3115110" cy="5239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87274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E1B6440-B0CB-4574-B16B-32EE3A4FFE8E}"/>
              </a:ext>
            </a:extLst>
          </p:cNvPr>
          <p:cNvSpPr/>
          <p:nvPr/>
        </p:nvSpPr>
        <p:spPr bwMode="auto">
          <a:xfrm>
            <a:off x="6795248" y="0"/>
            <a:ext cx="5396752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685966">
              <a:defRPr/>
            </a:pPr>
            <a:endParaRPr lang="en-US" sz="1400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IBM Plex Sans" charset="0"/>
              <a:sym typeface="Helvetica Neue"/>
            </a:endParaRPr>
          </a:p>
        </p:txBody>
      </p:sp>
      <p:pic>
        <p:nvPicPr>
          <p:cNvPr id="569346" name="Picture 2" descr="IBM Logo - PNG e Vetor - Download de Logo">
            <a:extLst>
              <a:ext uri="{FF2B5EF4-FFF2-40B4-BE49-F238E27FC236}">
                <a16:creationId xmlns:a16="http://schemas.microsoft.com/office/drawing/2014/main" id="{820DF905-2A69-41E1-B4AC-707DC75744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780" y="3141314"/>
            <a:ext cx="1424355" cy="575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F78C784-74CA-E338-0907-031EAF93096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7" t="1553" r="5237" b="2378"/>
          <a:stretch/>
        </p:blipFill>
        <p:spPr>
          <a:xfrm>
            <a:off x="7005067" y="2943225"/>
            <a:ext cx="974725" cy="9715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E7CD37E-BDC6-3948-2252-B9661C5BFB6E}"/>
              </a:ext>
            </a:extLst>
          </p:cNvPr>
          <p:cNvSpPr txBox="1"/>
          <p:nvPr/>
        </p:nvSpPr>
        <p:spPr>
          <a:xfrm>
            <a:off x="8044711" y="3005296"/>
            <a:ext cx="414728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>
              <a:defRPr sz="2400"/>
            </a:lvl1pPr>
          </a:lstStyle>
          <a:p>
            <a:r>
              <a:rPr lang="pt-BR" sz="1200" dirty="0"/>
              <a:t>Alexandre Zanetti</a:t>
            </a:r>
          </a:p>
          <a:p>
            <a:r>
              <a:rPr lang="pt-BR" sz="12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200" dirty="0"/>
          </a:p>
          <a:p>
            <a:r>
              <a:rPr lang="en-US" sz="1200" dirty="0"/>
              <a:t>55 (11) 98539-4632</a:t>
            </a:r>
          </a:p>
          <a:p>
            <a:r>
              <a:rPr lang="en-US" sz="1200" dirty="0"/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7012311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B28408D-88D8-4B83-AE71-1294D5961C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B28408D-88D8-4B83-AE71-1294D5961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A03248A-BDA0-4D8E-8451-A0C804B42F5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914621">
              <a:defRPr/>
            </a:pPr>
            <a:endParaRPr lang="en-US" sz="5867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 sz="900">
                <a:solidFill>
                  <a:srgbClr val="000000"/>
                </a:solidFill>
              </a:rPr>
              <a:pPr defTabSz="914621">
                <a:defRPr/>
              </a:pPr>
              <a:t>3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" name="… is to engage with you as you deploy, adopt and use IBM technology to ensure that [Client Name]  obtains the most value possible from our offerings.">
            <a:extLst>
              <a:ext uri="{FF2B5EF4-FFF2-40B4-BE49-F238E27FC236}">
                <a16:creationId xmlns:a16="http://schemas.microsoft.com/office/drawing/2014/main" id="{0B61165B-76B7-41CF-AF0D-6EF2A7AC4F28}"/>
              </a:ext>
            </a:extLst>
          </p:cNvPr>
          <p:cNvSpPr txBox="1">
            <a:spLocks/>
          </p:cNvSpPr>
          <p:nvPr/>
        </p:nvSpPr>
        <p:spPr>
          <a:xfrm>
            <a:off x="495345" y="1905000"/>
            <a:ext cx="11201311" cy="3427908"/>
          </a:xfrm>
          <a:prstGeom prst="rect">
            <a:avLst/>
          </a:prstGeom>
        </p:spPr>
        <p:txBody>
          <a:bodyPr wrap="square"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 baseline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Font typeface="IBM Plex Sans" charset="-120"/>
              <a:buChar char="»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pPr>
              <a:defRPr sz="9300"/>
            </a:pPr>
            <a:r>
              <a:rPr lang="en-US" sz="4000" kern="0" dirty="0">
                <a:solidFill>
                  <a:schemeClr val="tx1"/>
                </a:solidFill>
              </a:rPr>
              <a:t>… é </a:t>
            </a:r>
            <a:r>
              <a:rPr lang="en-US" sz="4000" kern="0" dirty="0" err="1">
                <a:solidFill>
                  <a:schemeClr val="tx1"/>
                </a:solidFill>
              </a:rPr>
              <a:t>engajar</a:t>
            </a:r>
            <a:r>
              <a:rPr lang="en-US" sz="4000" kern="0" dirty="0">
                <a:solidFill>
                  <a:schemeClr val="tx1"/>
                </a:solidFill>
              </a:rPr>
              <a:t> com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parceiro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durante</a:t>
            </a:r>
            <a:r>
              <a:rPr lang="en-US" sz="4000" kern="0" dirty="0">
                <a:solidFill>
                  <a:schemeClr val="tx1"/>
                </a:solidFill>
              </a:rPr>
              <a:t> a </a:t>
            </a:r>
            <a:r>
              <a:rPr lang="en-US" sz="4000" kern="0" dirty="0" err="1">
                <a:solidFill>
                  <a:schemeClr val="tx1"/>
                </a:solidFill>
              </a:rPr>
              <a:t>implementação</a:t>
            </a:r>
            <a:r>
              <a:rPr lang="en-US" sz="4000" kern="0" dirty="0">
                <a:solidFill>
                  <a:schemeClr val="tx1"/>
                </a:solidFill>
              </a:rPr>
              <a:t>, </a:t>
            </a:r>
            <a:r>
              <a:rPr lang="en-US" sz="4000" kern="0" dirty="0" err="1">
                <a:solidFill>
                  <a:schemeClr val="tx1"/>
                </a:solidFill>
              </a:rPr>
              <a:t>adoção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uso</a:t>
            </a:r>
            <a:r>
              <a:rPr lang="en-US" sz="4000" kern="0" dirty="0">
                <a:solidFill>
                  <a:schemeClr val="tx1"/>
                </a:solidFill>
              </a:rPr>
              <a:t> das </a:t>
            </a:r>
            <a:r>
              <a:rPr lang="en-US" sz="4000" kern="0" dirty="0" err="1">
                <a:solidFill>
                  <a:schemeClr val="tx1"/>
                </a:solidFill>
              </a:rPr>
              <a:t>tecnologias</a:t>
            </a:r>
            <a:r>
              <a:rPr lang="en-US" sz="4000" kern="0" dirty="0">
                <a:solidFill>
                  <a:schemeClr val="tx1"/>
                </a:solidFill>
              </a:rPr>
              <a:t> da IBM para </a:t>
            </a:r>
            <a:r>
              <a:rPr lang="en-US" sz="4000" kern="0" dirty="0" err="1">
                <a:solidFill>
                  <a:schemeClr val="tx1"/>
                </a:solidFill>
              </a:rPr>
              <a:t>garantir</a:t>
            </a:r>
            <a:r>
              <a:rPr lang="en-US" sz="4000" kern="0" dirty="0">
                <a:solidFill>
                  <a:schemeClr val="tx1"/>
                </a:solidFill>
              </a:rPr>
              <a:t> que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btenha</a:t>
            </a:r>
            <a:r>
              <a:rPr lang="en-US" sz="4000" kern="0" dirty="0">
                <a:solidFill>
                  <a:schemeClr val="tx1"/>
                </a:solidFill>
              </a:rPr>
              <a:t> o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máximo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valor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possível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</a:t>
            </a:r>
            <a:r>
              <a:rPr lang="en-US" sz="4000" kern="0" dirty="0">
                <a:solidFill>
                  <a:schemeClr val="tx1"/>
                </a:solidFill>
              </a:rPr>
              <a:t>das </a:t>
            </a:r>
            <a:r>
              <a:rPr lang="en-US" sz="4000" kern="0" dirty="0" err="1">
                <a:solidFill>
                  <a:schemeClr val="tx1"/>
                </a:solidFill>
              </a:rPr>
              <a:t>nossas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fertas</a:t>
            </a:r>
            <a:r>
              <a:rPr lang="en-US" sz="4000" kern="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869F55DB-477E-42C6-A4C2-1C436616B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274320"/>
            <a:ext cx="11612791" cy="763407"/>
          </a:xfrm>
        </p:spPr>
        <p:txBody>
          <a:bodyPr anchor="ctr">
            <a:normAutofit fontScale="90000"/>
          </a:bodyPr>
          <a:lstStyle/>
          <a:p>
            <a:r>
              <a:rPr lang="pt-BR" sz="3600" dirty="0">
                <a:solidFill>
                  <a:schemeClr val="tx1"/>
                </a:solidFill>
              </a:rPr>
              <a:t>A missão do </a:t>
            </a:r>
            <a:r>
              <a:rPr lang="pt-BR" sz="3600" dirty="0" err="1">
                <a:solidFill>
                  <a:schemeClr val="tx1"/>
                </a:solidFill>
              </a:rPr>
              <a:t>Customer</a:t>
            </a:r>
            <a:r>
              <a:rPr lang="pt-BR" sz="3600" dirty="0">
                <a:solidFill>
                  <a:schemeClr val="tx1"/>
                </a:solidFill>
              </a:rPr>
              <a:t> </a:t>
            </a:r>
            <a:r>
              <a:rPr lang="pt-BR" sz="3600" dirty="0" err="1">
                <a:solidFill>
                  <a:schemeClr val="tx1"/>
                </a:solidFill>
              </a:rPr>
              <a:t>Success</a:t>
            </a:r>
            <a:r>
              <a:rPr lang="pt-BR" sz="3600" dirty="0">
                <a:solidFill>
                  <a:schemeClr val="tx1"/>
                </a:solidFill>
              </a:rPr>
              <a:t> Manager…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D1E91762-A533-5953-92A7-0E2F1A7DC9D6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>
                <a:solidFill>
                  <a:schemeClr val="tx1"/>
                </a:solidFill>
              </a:rPr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706988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0D93105-AC2E-413D-AEF8-811553D98BF2}"/>
              </a:ext>
            </a:extLst>
          </p:cNvPr>
          <p:cNvSpPr txBox="1">
            <a:spLocks/>
          </p:cNvSpPr>
          <p:nvPr/>
        </p:nvSpPr>
        <p:spPr>
          <a:xfrm>
            <a:off x="0" y="4046855"/>
            <a:ext cx="6096000" cy="2811146"/>
          </a:xfrm>
          <a:prstGeom prst="rect">
            <a:avLst/>
          </a:prstGeom>
          <a:solidFill>
            <a:schemeClr val="tx1"/>
          </a:solidFill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IBM Plex Sans" pitchFamily="2" charset="2"/>
              <a:buNone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 baseline="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Font typeface="IBM Plex Sans" charset="-120"/>
              <a:buChar char="»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endParaRPr lang="en-US" sz="3200" b="1" kern="0" dirty="0">
              <a:solidFill>
                <a:schemeClr val="bg1"/>
              </a:solidFill>
            </a:endParaRPr>
          </a:p>
          <a:p>
            <a:pPr algn="ctr"/>
            <a:r>
              <a:rPr lang="en-US" sz="3200" b="1" kern="0" dirty="0" err="1">
                <a:solidFill>
                  <a:schemeClr val="bg1"/>
                </a:solidFill>
              </a:rPr>
              <a:t>Maximizar</a:t>
            </a:r>
            <a:r>
              <a:rPr lang="en-US" sz="3200" b="1" kern="0" dirty="0">
                <a:solidFill>
                  <a:schemeClr val="bg1"/>
                </a:solidFill>
              </a:rPr>
              <a:t> o </a:t>
            </a:r>
            <a:r>
              <a:rPr lang="en-US" sz="3200" b="1" kern="0" dirty="0" err="1">
                <a:solidFill>
                  <a:schemeClr val="bg1"/>
                </a:solidFill>
              </a:rPr>
              <a:t>retorno</a:t>
            </a:r>
            <a:r>
              <a:rPr lang="en-US" sz="3200" b="1" kern="0" dirty="0">
                <a:solidFill>
                  <a:schemeClr val="bg1"/>
                </a:solidFill>
              </a:rPr>
              <a:t> de </a:t>
            </a:r>
            <a:r>
              <a:rPr lang="en-US" sz="3200" b="1" kern="0" dirty="0" err="1">
                <a:solidFill>
                  <a:schemeClr val="bg1"/>
                </a:solidFill>
              </a:rPr>
              <a:t>investimento</a:t>
            </a:r>
            <a:r>
              <a:rPr lang="en-US" sz="3200" b="1" kern="0" dirty="0">
                <a:solidFill>
                  <a:schemeClr val="bg1"/>
                </a:solidFill>
              </a:rPr>
              <a:t> </a:t>
            </a:r>
            <a:r>
              <a:rPr lang="en-US" sz="3200" kern="0" dirty="0">
                <a:solidFill>
                  <a:schemeClr val="bg1"/>
                </a:solidFill>
              </a:rPr>
              <a:t>do </a:t>
            </a:r>
            <a:r>
              <a:rPr lang="en-US" sz="3200" kern="0" dirty="0" err="1">
                <a:solidFill>
                  <a:schemeClr val="bg1"/>
                </a:solidFill>
              </a:rPr>
              <a:t>cliente</a:t>
            </a:r>
            <a:endParaRPr lang="en-US" sz="3200" kern="0" dirty="0">
              <a:solidFill>
                <a:schemeClr val="bg1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4046855"/>
          </a:xfrm>
          <a:solidFill>
            <a:schemeClr val="accent1"/>
          </a:solidFill>
        </p:spPr>
        <p:txBody>
          <a:bodyPr/>
          <a:lstStyle/>
          <a:p>
            <a:pPr marL="0" indent="0">
              <a:buNone/>
            </a:pPr>
            <a:r>
              <a:rPr lang="en-US" sz="2800" dirty="0" err="1"/>
              <a:t>Demonstrar</a:t>
            </a:r>
            <a:r>
              <a:rPr lang="en-US" sz="2800" dirty="0"/>
              <a:t> valor </a:t>
            </a:r>
            <a:r>
              <a:rPr lang="en-US" sz="2800" dirty="0" err="1"/>
              <a:t>contínuo</a:t>
            </a:r>
            <a:r>
              <a:rPr lang="en-US" sz="2800" dirty="0"/>
              <a:t> por </a:t>
            </a:r>
            <a:r>
              <a:rPr lang="en-US" sz="2800" dirty="0" err="1"/>
              <a:t>meio</a:t>
            </a:r>
            <a:r>
              <a:rPr lang="en-US" sz="2800" dirty="0"/>
              <a:t> da </a:t>
            </a:r>
            <a:r>
              <a:rPr lang="en-US" sz="2800" dirty="0" err="1"/>
              <a:t>utilização</a:t>
            </a:r>
            <a:r>
              <a:rPr lang="en-US" sz="2800" dirty="0"/>
              <a:t> das </a:t>
            </a:r>
            <a:r>
              <a:rPr lang="en-US" sz="2800" dirty="0" err="1"/>
              <a:t>ofertas</a:t>
            </a:r>
            <a:r>
              <a:rPr lang="en-US" sz="2800" dirty="0"/>
              <a:t> de Data &amp; AI, Automation </a:t>
            </a:r>
            <a:r>
              <a:rPr lang="en-US" sz="2800" dirty="0" err="1"/>
              <a:t>ou</a:t>
            </a:r>
            <a:r>
              <a:rPr lang="en-US" sz="2800" dirty="0"/>
              <a:t> Security da IB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4046855"/>
          </a:xfrm>
          <a:solidFill>
            <a:srgbClr val="001D6C"/>
          </a:solidFill>
        </p:spPr>
        <p:txBody>
          <a:bodyPr/>
          <a:lstStyle/>
          <a:p>
            <a:pPr marL="0" indent="0">
              <a:buNone/>
            </a:pPr>
            <a:endParaRPr lang="en-US" sz="3200" b="1" dirty="0"/>
          </a:p>
          <a:p>
            <a:pPr marL="0" indent="0">
              <a:buNone/>
            </a:pPr>
            <a:r>
              <a:rPr lang="en-US" sz="3200" b="1" dirty="0" err="1"/>
              <a:t>Acelerar</a:t>
            </a:r>
            <a:r>
              <a:rPr lang="en-US" sz="3200" b="1" dirty="0"/>
              <a:t> o </a:t>
            </a:r>
            <a:r>
              <a:rPr lang="en-US" sz="3200" b="1" i="1" dirty="0"/>
              <a:t>time to value </a:t>
            </a:r>
            <a:r>
              <a:rPr lang="en-US" sz="3200" dirty="0"/>
              <a:t>do </a:t>
            </a:r>
            <a:r>
              <a:rPr lang="en-US" sz="3200" dirty="0" err="1"/>
              <a:t>cliente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6084260" y="4046854"/>
            <a:ext cx="6107740" cy="2811146"/>
          </a:xfrm>
          <a:solidFill>
            <a:schemeClr val="accent2"/>
          </a:solidFill>
        </p:spPr>
        <p:txBody>
          <a:bodyPr/>
          <a:lstStyle/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r>
              <a:rPr lang="en-US" sz="3200" dirty="0"/>
              <a:t>GARANTIR O </a:t>
            </a:r>
            <a:r>
              <a:rPr lang="en-US" sz="3200" b="1" dirty="0"/>
              <a:t>SUCESSO</a:t>
            </a:r>
            <a:r>
              <a:rPr lang="en-US" sz="3200" dirty="0"/>
              <a:t> DO CLIENTE</a:t>
            </a:r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05A6B09B-E865-4171-AF47-2A132F1C76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/>
              <a:pPr defTabSz="914621">
                <a:defRPr/>
              </a:pPr>
              <a:t>4</a:t>
            </a:fld>
            <a:endParaRPr lang="en-US" dirty="0"/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872BA695-1E66-49E3-91D4-A274B060F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379593"/>
            <a:ext cx="5745480" cy="763407"/>
          </a:xfrm>
        </p:spPr>
        <p:txBody>
          <a:bodyPr anchor="ctr">
            <a:normAutofit fontScale="90000"/>
          </a:bodyPr>
          <a:lstStyle/>
          <a:p>
            <a:r>
              <a:rPr lang="en-US" sz="3600" dirty="0">
                <a:solidFill>
                  <a:schemeClr val="tx1"/>
                </a:solidFill>
              </a:rPr>
              <a:t>O que é o Customer Success </a:t>
            </a:r>
            <a:r>
              <a:rPr lang="en-US" sz="3600" dirty="0" err="1">
                <a:solidFill>
                  <a:schemeClr val="tx1"/>
                </a:solidFill>
              </a:rPr>
              <a:t>na</a:t>
            </a:r>
            <a:r>
              <a:rPr lang="en-US" sz="3600" dirty="0">
                <a:solidFill>
                  <a:schemeClr val="tx1"/>
                </a:solidFill>
              </a:rPr>
              <a:t> IBM?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693B5C-0481-4EDC-8C5C-8732A1499583}"/>
              </a:ext>
            </a:extLst>
          </p:cNvPr>
          <p:cNvSpPr/>
          <p:nvPr/>
        </p:nvSpPr>
        <p:spPr>
          <a:xfrm>
            <a:off x="194064" y="1490008"/>
            <a:ext cx="559713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>
                <a:latin typeface="IBM Plex Sans" panose="020B0503050203000203" pitchFamily="34" charset="0"/>
              </a:rPr>
              <a:t>Nossa missão é </a:t>
            </a:r>
            <a:r>
              <a:rPr lang="pt-BR" sz="2000" b="1" dirty="0">
                <a:solidFill>
                  <a:srgbClr val="061F80"/>
                </a:solidFill>
                <a:latin typeface="IBM Plex Sans" panose="020B0503050203000203" pitchFamily="34" charset="0"/>
              </a:rPr>
              <a:t>impulsionar a adoção e o uso das ofertas de Data &amp; AI, Automation ou Security </a:t>
            </a:r>
            <a:r>
              <a:rPr lang="pt-BR" sz="2000" dirty="0">
                <a:latin typeface="IBM Plex Sans" panose="020B0503050203000203" pitchFamily="34" charset="0"/>
              </a:rPr>
              <a:t>por meio de compromissos proativos e contínuos com nossos clientes durante o pós-vendas e garantir que eles agreguem mais resultados aos seus negócios.</a:t>
            </a:r>
            <a:endParaRPr lang="en-US" sz="2000" dirty="0">
              <a:latin typeface="IBM Plex Sans" panose="020B0503050203000203" pitchFamily="34" charset="0"/>
            </a:endParaRPr>
          </a:p>
        </p:txBody>
      </p:sp>
      <p:pic>
        <p:nvPicPr>
          <p:cNvPr id="7172" name="Picture 4" descr="champion Icon 2750396">
            <a:extLst>
              <a:ext uri="{FF2B5EF4-FFF2-40B4-BE49-F238E27FC236}">
                <a16:creationId xmlns:a16="http://schemas.microsoft.com/office/drawing/2014/main" id="{026CBE3A-6437-4032-BB5E-20B6BA0B8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6028" y="4148207"/>
            <a:ext cx="1115944" cy="1115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5">
            <a:extLst>
              <a:ext uri="{FF2B5EF4-FFF2-40B4-BE49-F238E27FC236}">
                <a16:creationId xmlns:a16="http://schemas.microsoft.com/office/drawing/2014/main" id="{52317B9A-005D-2F4F-BCAB-6C005E47A0D8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/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5963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logo2-04.png" descr="logo2-04.png">
            <a:extLst>
              <a:ext uri="{FF2B5EF4-FFF2-40B4-BE49-F238E27FC236}">
                <a16:creationId xmlns:a16="http://schemas.microsoft.com/office/drawing/2014/main" id="{D9B609AC-2D18-4858-1821-77882B6494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973581A-14E7-1133-5923-412F0DCC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atividades do CSM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xample activities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76032E9-77B0-ECCC-9C48-964E8DCA3871}"/>
              </a:ext>
            </a:extLst>
          </p:cNvPr>
          <p:cNvGrpSpPr/>
          <p:nvPr/>
        </p:nvGrpSpPr>
        <p:grpSpPr>
          <a:xfrm>
            <a:off x="890776" y="1745093"/>
            <a:ext cx="10182014" cy="4759193"/>
            <a:chOff x="226010" y="914400"/>
            <a:chExt cx="11533564" cy="5467538"/>
          </a:xfrm>
        </p:grpSpPr>
        <p:sp>
          <p:nvSpPr>
            <p:cNvPr id="2" name="Text Placeholder 1">
              <a:extLst>
                <a:ext uri="{FF2B5EF4-FFF2-40B4-BE49-F238E27FC236}">
                  <a16:creationId xmlns:a16="http://schemas.microsoft.com/office/drawing/2014/main" id="{81185307-97FB-12DA-529E-7B0BD7D496F0}"/>
                </a:ext>
              </a:extLst>
            </p:cNvPr>
            <p:cNvSpPr txBox="1">
              <a:spLocks/>
            </p:cNvSpPr>
            <p:nvPr/>
          </p:nvSpPr>
          <p:spPr>
            <a:xfrm>
              <a:off x="445008" y="2133600"/>
              <a:ext cx="2374392" cy="1303944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defPPr>
                <a:defRPr lang="pt-B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5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dentificar casos de uso </a:t>
              </a:r>
              <a:r>
                <a:rPr lang="en-US" sz="15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inhados com os objetivos estratégicos do cliente</a:t>
              </a:r>
              <a:endParaRPr lang="en-US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" name="Text Placeholder 2">
              <a:extLst>
                <a:ext uri="{FF2B5EF4-FFF2-40B4-BE49-F238E27FC236}">
                  <a16:creationId xmlns:a16="http://schemas.microsoft.com/office/drawing/2014/main" id="{A774AA1C-2555-4FEA-B71F-64295B391D81}"/>
                </a:ext>
              </a:extLst>
            </p:cNvPr>
            <p:cNvSpPr txBox="1">
              <a:spLocks/>
            </p:cNvSpPr>
            <p:nvPr/>
          </p:nvSpPr>
          <p:spPr>
            <a:xfrm>
              <a:off x="3267594" y="2163069"/>
              <a:ext cx="2720200" cy="1456431"/>
            </a:xfrm>
            <a:prstGeom prst="rect">
              <a:avLst/>
            </a:prstGeom>
          </p:spPr>
          <p:txBody>
            <a:bodyPr anchor="b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Co-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MVPs (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mínim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produt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viável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)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para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elerar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i="1" dirty="0">
                  <a:latin typeface="Arial" panose="020B0604020202020204" pitchFamily="34" charset="0"/>
                  <a:cs typeface="Arial" panose="020B0604020202020204" pitchFamily="34" charset="0"/>
                </a:rPr>
                <a:t>tempo de </a:t>
              </a:r>
              <a:r>
                <a:rPr lang="en-US" sz="1500" i="1" dirty="0" err="1">
                  <a:latin typeface="Arial" panose="020B0604020202020204" pitchFamily="34" charset="0"/>
                  <a:cs typeface="Arial" panose="020B0604020202020204" pitchFamily="34" charset="0"/>
                </a:rPr>
                <a:t>retorno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Text Placeholder 3">
              <a:extLst>
                <a:ext uri="{FF2B5EF4-FFF2-40B4-BE49-F238E27FC236}">
                  <a16:creationId xmlns:a16="http://schemas.microsoft.com/office/drawing/2014/main" id="{ED8A99DB-37E2-324D-309C-066E0DD9CE21}"/>
                </a:ext>
              </a:extLst>
            </p:cNvPr>
            <p:cNvSpPr txBox="1">
              <a:spLocks/>
            </p:cNvSpPr>
            <p:nvPr/>
          </p:nvSpPr>
          <p:spPr>
            <a:xfrm>
              <a:off x="6489514" y="2088347"/>
              <a:ext cx="2227811" cy="1303944"/>
            </a:xfrm>
            <a:prstGeom prst="rect">
              <a:avLst/>
            </a:prstGeom>
          </p:spPr>
          <p:txBody>
            <a:bodyPr anchor="b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Validar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arquitetura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de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ordo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com as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melhores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práticas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" name="Picture 4" descr="Cloud Network Icon 3766492">
              <a:extLst>
                <a:ext uri="{FF2B5EF4-FFF2-40B4-BE49-F238E27FC236}">
                  <a16:creationId xmlns:a16="http://schemas.microsoft.com/office/drawing/2014/main" id="{E38D398E-0CDD-3EDE-975D-0D4318B55F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7767" y="1244724"/>
              <a:ext cx="807905" cy="8079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union Icon 1567316">
              <a:extLst>
                <a:ext uri="{FF2B5EF4-FFF2-40B4-BE49-F238E27FC236}">
                  <a16:creationId xmlns:a16="http://schemas.microsoft.com/office/drawing/2014/main" id="{27A44FA5-C2B4-9F0D-2FE5-FA336A0824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3321" y="1066800"/>
              <a:ext cx="977566" cy="9775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 descr="Target Icon 3845784">
              <a:extLst>
                <a:ext uri="{FF2B5EF4-FFF2-40B4-BE49-F238E27FC236}">
                  <a16:creationId xmlns:a16="http://schemas.microsoft.com/office/drawing/2014/main" id="{8F01A206-E5B3-5DC5-B152-6FBC459095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5956" y="1219200"/>
              <a:ext cx="888696" cy="888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7A00A80-D87B-FCBF-24A8-BC9CA4B9C07D}"/>
                </a:ext>
              </a:extLst>
            </p:cNvPr>
            <p:cNvGrpSpPr/>
            <p:nvPr/>
          </p:nvGrpSpPr>
          <p:grpSpPr>
            <a:xfrm>
              <a:off x="344733" y="3727078"/>
              <a:ext cx="2450592" cy="2505969"/>
              <a:chOff x="445008" y="3590031"/>
              <a:chExt cx="2450592" cy="2505969"/>
            </a:xfrm>
          </p:grpSpPr>
          <p:sp>
            <p:nvSpPr>
              <p:cNvPr id="15" name="Text Placeholder 1">
                <a:extLst>
                  <a:ext uri="{FF2B5EF4-FFF2-40B4-BE49-F238E27FC236}">
                    <a16:creationId xmlns:a16="http://schemas.microsoft.com/office/drawing/2014/main" id="{0D791626-DEC1-C32E-2F8E-5F6D0078BB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5008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/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senvolve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monstraçõe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para o time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egóci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, sponsor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écnic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uári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8" name="Picture 12" descr="presentation Icon 1153931">
                <a:extLst>
                  <a:ext uri="{FF2B5EF4-FFF2-40B4-BE49-F238E27FC236}">
                    <a16:creationId xmlns:a16="http://schemas.microsoft.com/office/drawing/2014/main" id="{0137F999-23F9-7C49-6D0F-01E46A16DE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6352" y="3590031"/>
                <a:ext cx="807905" cy="8079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B8BB897-BD71-952C-0DA2-89F5AF508F10}"/>
                </a:ext>
              </a:extLst>
            </p:cNvPr>
            <p:cNvGrpSpPr/>
            <p:nvPr/>
          </p:nvGrpSpPr>
          <p:grpSpPr>
            <a:xfrm>
              <a:off x="9232391" y="914400"/>
              <a:ext cx="2227811" cy="2477891"/>
              <a:chOff x="3528199" y="3618109"/>
              <a:chExt cx="2227811" cy="2477891"/>
            </a:xfrm>
          </p:grpSpPr>
          <p:sp>
            <p:nvSpPr>
              <p:cNvPr id="20" name="Text Placeholder 2">
                <a:extLst>
                  <a:ext uri="{FF2B5EF4-FFF2-40B4-BE49-F238E27FC236}">
                    <a16:creationId xmlns:a16="http://schemas.microsoft.com/office/drawing/2014/main" id="{3B8B2A23-2FEC-F0EE-1A02-0A65B52F127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28199" y="4518228"/>
                <a:ext cx="2227811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xpandi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tilizaçã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 IBM 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umenta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i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workload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bem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sucedid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Picture 16" descr="grow Icon 1648809">
                <a:extLst>
                  <a:ext uri="{FF2B5EF4-FFF2-40B4-BE49-F238E27FC236}">
                    <a16:creationId xmlns:a16="http://schemas.microsoft.com/office/drawing/2014/main" id="{C6295FF9-ABE1-21A8-09AA-C21BF2196C2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04443" y="3618109"/>
                <a:ext cx="1075323" cy="10753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F9AD820-2260-9FAC-577B-4FB806CD82B0}"/>
                </a:ext>
              </a:extLst>
            </p:cNvPr>
            <p:cNvGrpSpPr/>
            <p:nvPr/>
          </p:nvGrpSpPr>
          <p:grpSpPr>
            <a:xfrm>
              <a:off x="3316533" y="3836810"/>
              <a:ext cx="2450592" cy="2542668"/>
              <a:chOff x="6213209" y="3607104"/>
              <a:chExt cx="2450592" cy="2542668"/>
            </a:xfrm>
          </p:grpSpPr>
          <p:sp>
            <p:nvSpPr>
              <p:cNvPr id="23" name="Text Placeholder 3">
                <a:extLst>
                  <a:ext uri="{FF2B5EF4-FFF2-40B4-BE49-F238E27FC236}">
                    <a16:creationId xmlns:a16="http://schemas.microsoft.com/office/drawing/2014/main" id="{57D76889-D5CC-4E1F-3233-F16FE09B221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13209" y="4572000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ransferi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onheciment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elhore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ática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oss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4" name="Picture 18" descr="practices Icon 2139244">
                <a:extLst>
                  <a:ext uri="{FF2B5EF4-FFF2-40B4-BE49-F238E27FC236}">
                    <a16:creationId xmlns:a16="http://schemas.microsoft.com/office/drawing/2014/main" id="{A85BD75F-2E3E-44C1-2111-D8B4827FC0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4157" y="3607104"/>
                <a:ext cx="888696" cy="88869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5A95500-04B2-A591-80A3-BECC3F143B7E}"/>
                </a:ext>
              </a:extLst>
            </p:cNvPr>
            <p:cNvGrpSpPr/>
            <p:nvPr/>
          </p:nvGrpSpPr>
          <p:grpSpPr>
            <a:xfrm>
              <a:off x="9144000" y="3481524"/>
              <a:ext cx="2450592" cy="2874818"/>
              <a:chOff x="9220200" y="3221182"/>
              <a:chExt cx="2450592" cy="2874818"/>
            </a:xfrm>
          </p:grpSpPr>
          <p:sp>
            <p:nvSpPr>
              <p:cNvPr id="26" name="Text Placeholder 4">
                <a:extLst>
                  <a:ext uri="{FF2B5EF4-FFF2-40B4-BE49-F238E27FC236}">
                    <a16:creationId xmlns:a16="http://schemas.microsoft.com/office/drawing/2014/main" id="{F63CF753-19FD-D119-EB5E-73BEBE22FE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220200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strutura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ma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ultur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opíci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prendizad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par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bte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o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áxim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valor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IBM</a:t>
                </a:r>
              </a:p>
            </p:txBody>
          </p:sp>
          <p:pic>
            <p:nvPicPr>
              <p:cNvPr id="27" name="Picture 22" descr="Agile Methodology Icon 2321699">
                <a:extLst>
                  <a:ext uri="{FF2B5EF4-FFF2-40B4-BE49-F238E27FC236}">
                    <a16:creationId xmlns:a16="http://schemas.microsoft.com/office/drawing/2014/main" id="{AB804976-1D96-5076-BACD-A5E4B4BEF27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79587" y="3221182"/>
                <a:ext cx="1731818" cy="1731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293B79D-C957-D34A-1180-BEF87115BAD0}"/>
                </a:ext>
              </a:extLst>
            </p:cNvPr>
            <p:cNvSpPr/>
            <p:nvPr/>
          </p:nvSpPr>
          <p:spPr bwMode="auto">
            <a:xfrm>
              <a:off x="228598" y="914400"/>
              <a:ext cx="11518393" cy="2675630"/>
            </a:xfrm>
            <a:prstGeom prst="rect">
              <a:avLst/>
            </a:prstGeom>
            <a:noFill/>
            <a:ln w="1905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29" name="Text Placeholder 4">
              <a:extLst>
                <a:ext uri="{FF2B5EF4-FFF2-40B4-BE49-F238E27FC236}">
                  <a16:creationId xmlns:a16="http://schemas.microsoft.com/office/drawing/2014/main" id="{C4748603-6099-922B-91D8-B9B821FF00A7}"/>
                </a:ext>
              </a:extLst>
            </p:cNvPr>
            <p:cNvSpPr txBox="1">
              <a:spLocks/>
            </p:cNvSpPr>
            <p:nvPr/>
          </p:nvSpPr>
          <p:spPr>
            <a:xfrm>
              <a:off x="6266732" y="4931665"/>
              <a:ext cx="2450592" cy="1303944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90000"/>
                <a:buFont typeface="IBM Plex Sans" pitchFamily="2" charset="2"/>
                <a:buNone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1pPr>
              <a:lvl2pPr marL="228597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2pPr>
              <a:lvl3pPr marL="457195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panose="020B0604020202020204" pitchFamily="34" charset="0"/>
                <a:buChar char="•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3pPr>
              <a:lvl4pPr marL="83819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 baseline="0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4pPr>
              <a:lvl5pPr marL="107102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Font typeface="IBM Plex Sans" charset="-120"/>
                <a:buChar char="»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5pPr>
              <a:lvl6pPr marL="2111575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6pPr>
              <a:lvl7pPr marL="2594990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7pPr>
              <a:lvl8pPr marL="3078403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8pPr>
              <a:lvl9pPr marL="3561818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onect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liente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com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nosso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time de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vendas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para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agendas de </a:t>
              </a:r>
              <a:r>
                <a:rPr lang="en-US" sz="15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inovação</a:t>
              </a:r>
              <a:endParaRPr lang="en-US" sz="1500" b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6" name="Picture 8" descr="Idea Icon 3183247">
              <a:extLst>
                <a:ext uri="{FF2B5EF4-FFF2-40B4-BE49-F238E27FC236}">
                  <a16:creationId xmlns:a16="http://schemas.microsoft.com/office/drawing/2014/main" id="{32485759-4A1C-A755-2837-F13DAD8671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0016" y="3756005"/>
              <a:ext cx="1182855" cy="118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8A17B85-36F1-E551-51C9-34065863E481}"/>
                </a:ext>
              </a:extLst>
            </p:cNvPr>
            <p:cNvSpPr/>
            <p:nvPr/>
          </p:nvSpPr>
          <p:spPr bwMode="auto">
            <a:xfrm>
              <a:off x="226010" y="3657600"/>
              <a:ext cx="5745480" cy="2721878"/>
            </a:xfrm>
            <a:prstGeom prst="rect">
              <a:avLst/>
            </a:prstGeom>
            <a:noFill/>
            <a:ln w="19050">
              <a:solidFill>
                <a:srgbClr val="00B05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38FB060-67EC-C909-4F98-53AF19F19B2A}"/>
                </a:ext>
              </a:extLst>
            </p:cNvPr>
            <p:cNvSpPr/>
            <p:nvPr/>
          </p:nvSpPr>
          <p:spPr bwMode="auto">
            <a:xfrm>
              <a:off x="6014094" y="3660060"/>
              <a:ext cx="5745480" cy="2721878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8885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1D0463-96D6-4BFD-4586-943379435E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10254070" cy="1033669"/>
          </a:xfrm>
        </p:spPr>
        <p:txBody>
          <a:bodyPr>
            <a:normAutofit fontScale="90000"/>
          </a:bodyPr>
          <a:lstStyle/>
          <a:p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tividades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CP4I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		</a:t>
            </a:r>
            <a:r>
              <a:rPr kumimoji="0" lang="en-US" sz="36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ctivities CP4I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AA882DA6-D05A-A9AC-F7D4-CEFE9C55D3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5334586-1C27-E066-5791-4CF4FCFA5E6F}"/>
              </a:ext>
            </a:extLst>
          </p:cNvPr>
          <p:cNvSpPr/>
          <p:nvPr/>
        </p:nvSpPr>
        <p:spPr>
          <a:xfrm>
            <a:off x="200888" y="1622745"/>
            <a:ext cx="8115305" cy="37923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</a:rPr>
              <a:t>Cloud Pak for Integr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P Connect Enterprise (ACE/IIB/Broker)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I Connect (APIC)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I Gateway/</a:t>
            </a:r>
            <a:r>
              <a:rPr lang="en-US" sz="2000" dirty="0" err="1">
                <a:solidFill>
                  <a:schemeClr val="tx1"/>
                </a:solidFill>
              </a:rPr>
              <a:t>Datapower</a:t>
            </a:r>
            <a:endParaRPr lang="en-US" sz="2000" dirty="0">
              <a:solidFill>
                <a:schemeClr val="tx1"/>
              </a:solidFill>
            </a:endParaRP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spera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Event Autom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Event Stream/Kafka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Hybrid iPaaS </a:t>
            </a:r>
          </a:p>
          <a:p>
            <a:pPr algn="just"/>
            <a:r>
              <a:rPr lang="en-US" sz="2000" dirty="0" err="1">
                <a:solidFill>
                  <a:schemeClr val="tx1"/>
                </a:solidFill>
              </a:rPr>
              <a:t>WebMethods</a:t>
            </a:r>
            <a:r>
              <a:rPr lang="en-US" sz="2000" dirty="0">
                <a:solidFill>
                  <a:schemeClr val="tx1"/>
                </a:solidFill>
              </a:rPr>
              <a:t> Integr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MQ</a:t>
            </a:r>
            <a:r>
              <a:rPr lang="en-US" sz="2000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</a:p>
        </p:txBody>
      </p:sp>
      <p:pic>
        <p:nvPicPr>
          <p:cNvPr id="13" name="Picture 4" descr="IBM Cloud Pak for Integration | IBM CP4I">
            <a:extLst>
              <a:ext uri="{FF2B5EF4-FFF2-40B4-BE49-F238E27FC236}">
                <a16:creationId xmlns:a16="http://schemas.microsoft.com/office/drawing/2014/main" id="{37D81011-5427-0DB7-FD31-C250D9FE69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346"/>
          <a:stretch/>
        </p:blipFill>
        <p:spPr bwMode="auto">
          <a:xfrm>
            <a:off x="4402287" y="2655253"/>
            <a:ext cx="7426023" cy="1188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C3B428E-108E-F1E3-0FBE-86AAE30904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8321" y="4327457"/>
            <a:ext cx="2217520" cy="2175339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28385949-E623-6979-7AA9-3E7F4F590915}"/>
              </a:ext>
            </a:extLst>
          </p:cNvPr>
          <p:cNvSpPr txBox="1"/>
          <p:nvPr/>
        </p:nvSpPr>
        <p:spPr>
          <a:xfrm>
            <a:off x="7306129" y="4024023"/>
            <a:ext cx="24447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Hybrid iPaaS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4E6785E-299C-5AF1-A141-B6D5047A6C4D}"/>
              </a:ext>
            </a:extLst>
          </p:cNvPr>
          <p:cNvSpPr txBox="1"/>
          <p:nvPr/>
        </p:nvSpPr>
        <p:spPr>
          <a:xfrm>
            <a:off x="6197601" y="2303149"/>
            <a:ext cx="4237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Cloud Pak for Integration</a:t>
            </a:r>
          </a:p>
        </p:txBody>
      </p:sp>
    </p:spTree>
    <p:extLst>
      <p:ext uri="{BB962C8B-B14F-4D97-AF65-F5344CB8AC3E}">
        <p14:creationId xmlns:p14="http://schemas.microsoft.com/office/powerpoint/2010/main" val="23257588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835DC4D-9BA8-FB6E-4CA9-3C32A54B01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E1231023-C0FB-CA62-81A9-7618320179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C0E148-FD7E-1B62-B04A-C63518DA8F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4448ED7-67BE-0FDD-E098-1E052A64C2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5F0DF56-D0A5-E845-73AD-D7CCE66A5A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141C868-13D7-5646-D423-799A867298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C9CE162-7C8B-9F38-2958-9CE73E32A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10254070" cy="1033669"/>
          </a:xfrm>
        </p:spPr>
        <p:txBody>
          <a:bodyPr>
            <a:normAutofit fontScale="90000"/>
          </a:bodyPr>
          <a:lstStyle/>
          <a:p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BSEG/Times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		</a:t>
            </a:r>
            <a:r>
              <a:rPr kumimoji="0" lang="en-US" sz="36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BSEG/Times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A6B2BB7E-8523-AEC2-F789-55828C914A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91" name="Rectangle 90">
            <a:extLst>
              <a:ext uri="{FF2B5EF4-FFF2-40B4-BE49-F238E27FC236}">
                <a16:creationId xmlns:a16="http://schemas.microsoft.com/office/drawing/2014/main" id="{F9C777A7-C169-24AA-1C12-D2E86FED2D42}"/>
              </a:ext>
            </a:extLst>
          </p:cNvPr>
          <p:cNvSpPr/>
          <p:nvPr/>
        </p:nvSpPr>
        <p:spPr>
          <a:xfrm>
            <a:off x="211275" y="6055112"/>
            <a:ext cx="1831762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Gerentes/</a:t>
            </a:r>
            <a:r>
              <a:rPr lang="pt-BR" sz="1050" dirty="0" err="1">
                <a:solidFill>
                  <a:schemeClr val="tx1"/>
                </a:solidFill>
              </a:rPr>
              <a:t>Cordenador</a:t>
            </a:r>
            <a:r>
              <a:rPr lang="pt-BR" sz="1050" dirty="0">
                <a:solidFill>
                  <a:schemeClr val="tx1"/>
                </a:solidFill>
              </a:rPr>
              <a:t>: 3ª e 5a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Analistas: 5a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18E627-9EBD-7AD1-4DED-E8842CE6E427}"/>
              </a:ext>
            </a:extLst>
          </p:cNvPr>
          <p:cNvSpPr/>
          <p:nvPr/>
        </p:nvSpPr>
        <p:spPr>
          <a:xfrm>
            <a:off x="92597" y="1328207"/>
            <a:ext cx="11887200" cy="4563264"/>
          </a:xfrm>
          <a:prstGeom prst="rect">
            <a:avLst/>
          </a:prstGeom>
          <a:solidFill>
            <a:srgbClr val="EBC2CC"/>
          </a:solidFill>
          <a:ln w="762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942D5F7-0137-2B66-9E01-F35C358FA2B3}"/>
              </a:ext>
            </a:extLst>
          </p:cNvPr>
          <p:cNvSpPr/>
          <p:nvPr/>
        </p:nvSpPr>
        <p:spPr>
          <a:xfrm>
            <a:off x="6057418" y="2655746"/>
            <a:ext cx="1093428" cy="917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 err="1">
                <a:solidFill>
                  <a:schemeClr val="tx1"/>
                </a:solidFill>
              </a:rPr>
              <a:t>DataPower</a:t>
            </a:r>
            <a:r>
              <a:rPr lang="pt-BR" sz="9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0580DE3-29C4-C761-679F-91FAD671FC1C}"/>
              </a:ext>
            </a:extLst>
          </p:cNvPr>
          <p:cNvSpPr/>
          <p:nvPr/>
        </p:nvSpPr>
        <p:spPr>
          <a:xfrm>
            <a:off x="7247600" y="2655746"/>
            <a:ext cx="1093428" cy="917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</a:rPr>
              <a:t>APIC, </a:t>
            </a:r>
            <a:r>
              <a:rPr lang="pt-BR" sz="900" dirty="0" err="1">
                <a:solidFill>
                  <a:schemeClr val="tx1"/>
                </a:solidFill>
              </a:rPr>
              <a:t>Axway</a:t>
            </a:r>
            <a:r>
              <a:rPr lang="pt-BR" sz="900" dirty="0">
                <a:solidFill>
                  <a:schemeClr val="tx1"/>
                </a:solidFill>
              </a:rPr>
              <a:t>/APIM </a:t>
            </a:r>
          </a:p>
          <a:p>
            <a:pPr algn="ctr"/>
            <a:r>
              <a:rPr lang="pt-BR" sz="900" dirty="0" err="1">
                <a:solidFill>
                  <a:schemeClr val="tx1"/>
                </a:solidFill>
              </a:rPr>
              <a:t>Confluent</a:t>
            </a:r>
            <a:r>
              <a:rPr lang="pt-BR" sz="900" dirty="0">
                <a:solidFill>
                  <a:schemeClr val="tx1"/>
                </a:solidFill>
              </a:rPr>
              <a:t>, Event </a:t>
            </a:r>
            <a:r>
              <a:rPr lang="pt-BR" sz="900" dirty="0" err="1">
                <a:solidFill>
                  <a:schemeClr val="tx1"/>
                </a:solidFill>
              </a:rPr>
              <a:t>Stream</a:t>
            </a:r>
            <a:endParaRPr lang="pt-BR" sz="900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0CB1BCC-3298-640E-C734-00CE1EE880D6}"/>
              </a:ext>
            </a:extLst>
          </p:cNvPr>
          <p:cNvSpPr/>
          <p:nvPr/>
        </p:nvSpPr>
        <p:spPr>
          <a:xfrm>
            <a:off x="4861774" y="2655746"/>
            <a:ext cx="1093428" cy="917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</a:rPr>
              <a:t>MQ &amp; AC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4EF94B1-FA67-BAC2-0CD9-973C43B60601}"/>
              </a:ext>
            </a:extLst>
          </p:cNvPr>
          <p:cNvSpPr/>
          <p:nvPr/>
        </p:nvSpPr>
        <p:spPr>
          <a:xfrm>
            <a:off x="3721721" y="2655746"/>
            <a:ext cx="1081759" cy="917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WAS/</a:t>
            </a:r>
            <a:r>
              <a:rPr lang="pt-BR" sz="1000" dirty="0" err="1">
                <a:solidFill>
                  <a:schemeClr val="tx1"/>
                </a:solidFill>
              </a:rPr>
              <a:t>Liberty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9196541-426B-E677-E3E5-E20AA8CB95A1}"/>
              </a:ext>
            </a:extLst>
          </p:cNvPr>
          <p:cNvSpPr/>
          <p:nvPr/>
        </p:nvSpPr>
        <p:spPr>
          <a:xfrm>
            <a:off x="8442025" y="2655746"/>
            <a:ext cx="1081759" cy="917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err="1">
                <a:solidFill>
                  <a:schemeClr val="tx1"/>
                </a:solidFill>
              </a:rPr>
              <a:t>DevOps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94852262-370D-1FD6-AE6B-D9B52F6EB189}"/>
              </a:ext>
            </a:extLst>
          </p:cNvPr>
          <p:cNvSpPr/>
          <p:nvPr/>
        </p:nvSpPr>
        <p:spPr>
          <a:xfrm>
            <a:off x="9611159" y="1566871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Glaucio (SP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47C16F0B-9C41-D1D7-F838-DAA4958C6C27}"/>
              </a:ext>
            </a:extLst>
          </p:cNvPr>
          <p:cNvSpPr/>
          <p:nvPr/>
        </p:nvSpPr>
        <p:spPr>
          <a:xfrm>
            <a:off x="3721720" y="3618134"/>
            <a:ext cx="3429125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José Guilherme  (RJ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17A15290-8688-7169-951E-4FCAA46962D3}"/>
              </a:ext>
            </a:extLst>
          </p:cNvPr>
          <p:cNvCxnSpPr>
            <a:cxnSpLocks/>
            <a:stCxn id="142" idx="2"/>
            <a:endCxn id="55" idx="0"/>
          </p:cNvCxnSpPr>
          <p:nvPr/>
        </p:nvCxnSpPr>
        <p:spPr>
          <a:xfrm flipH="1">
            <a:off x="4262601" y="2201976"/>
            <a:ext cx="540880" cy="45377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1DE76736-C0BF-E4B3-9EAF-3EFE201749D4}"/>
              </a:ext>
            </a:extLst>
          </p:cNvPr>
          <p:cNvCxnSpPr>
            <a:cxnSpLocks/>
            <a:stCxn id="142" idx="2"/>
            <a:endCxn id="31" idx="0"/>
          </p:cNvCxnSpPr>
          <p:nvPr/>
        </p:nvCxnSpPr>
        <p:spPr>
          <a:xfrm>
            <a:off x="4803481" y="2201976"/>
            <a:ext cx="605007" cy="45377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8E3B7BEC-D2D3-8A8F-B058-557051867339}"/>
              </a:ext>
            </a:extLst>
          </p:cNvPr>
          <p:cNvCxnSpPr>
            <a:cxnSpLocks/>
            <a:stCxn id="142" idx="2"/>
            <a:endCxn id="19" idx="0"/>
          </p:cNvCxnSpPr>
          <p:nvPr/>
        </p:nvCxnSpPr>
        <p:spPr>
          <a:xfrm>
            <a:off x="4803481" y="2201976"/>
            <a:ext cx="1800651" cy="45377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tangle 97">
            <a:extLst>
              <a:ext uri="{FF2B5EF4-FFF2-40B4-BE49-F238E27FC236}">
                <a16:creationId xmlns:a16="http://schemas.microsoft.com/office/drawing/2014/main" id="{1C0057C7-F2FB-07B0-E9A5-7B00F8130AAE}"/>
              </a:ext>
            </a:extLst>
          </p:cNvPr>
          <p:cNvSpPr/>
          <p:nvPr/>
        </p:nvSpPr>
        <p:spPr>
          <a:xfrm>
            <a:off x="1393188" y="2655746"/>
            <a:ext cx="1081759" cy="917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EOC </a:t>
            </a:r>
          </a:p>
          <a:p>
            <a:pPr algn="ctr"/>
            <a:r>
              <a:rPr lang="pt-BR" sz="1000" dirty="0">
                <a:solidFill>
                  <a:schemeClr val="tx1"/>
                </a:solidFill>
              </a:rPr>
              <a:t>Eng. Ope Cloud (AWS/Azure)</a:t>
            </a:r>
          </a:p>
          <a:p>
            <a:pPr algn="ctr"/>
            <a:r>
              <a:rPr lang="pt-BR" sz="1000" dirty="0" err="1">
                <a:solidFill>
                  <a:schemeClr val="tx1"/>
                </a:solidFill>
              </a:rPr>
              <a:t>Ansible</a:t>
            </a:r>
            <a:r>
              <a:rPr lang="pt-BR" sz="1000" dirty="0">
                <a:solidFill>
                  <a:schemeClr val="tx1"/>
                </a:solidFill>
              </a:rPr>
              <a:t>/</a:t>
            </a:r>
            <a:r>
              <a:rPr lang="pt-BR" sz="1000" dirty="0" err="1">
                <a:solidFill>
                  <a:schemeClr val="tx1"/>
                </a:solidFill>
              </a:rPr>
              <a:t>Terraform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2ED312FC-8FFA-4B27-51E0-6FEBD76AF24F}"/>
              </a:ext>
            </a:extLst>
          </p:cNvPr>
          <p:cNvSpPr/>
          <p:nvPr/>
        </p:nvSpPr>
        <p:spPr>
          <a:xfrm>
            <a:off x="1393188" y="3622275"/>
            <a:ext cx="2272261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Makoto (SP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4034B72B-9529-E982-1D02-3CFD5A6DCCF3}"/>
              </a:ext>
            </a:extLst>
          </p:cNvPr>
          <p:cNvSpPr/>
          <p:nvPr/>
        </p:nvSpPr>
        <p:spPr>
          <a:xfrm>
            <a:off x="7247600" y="4333166"/>
            <a:ext cx="1093428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  <a:highlight>
                  <a:srgbClr val="00FF00"/>
                </a:highlight>
              </a:rPr>
              <a:t>Thiago (RJ)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AABF6A47-A341-6CC1-BD9D-D48FDBCF3546}"/>
              </a:ext>
            </a:extLst>
          </p:cNvPr>
          <p:cNvSpPr/>
          <p:nvPr/>
        </p:nvSpPr>
        <p:spPr>
          <a:xfrm>
            <a:off x="3721721" y="4333166"/>
            <a:ext cx="3443232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Marcio Pupo (PR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36548809-DF59-0AD6-6673-E19BA0A7D96D}"/>
              </a:ext>
            </a:extLst>
          </p:cNvPr>
          <p:cNvSpPr/>
          <p:nvPr/>
        </p:nvSpPr>
        <p:spPr>
          <a:xfrm>
            <a:off x="8442025" y="4333166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?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855149D6-225F-07E1-5999-9E71DDD537DC}"/>
              </a:ext>
            </a:extLst>
          </p:cNvPr>
          <p:cNvSpPr/>
          <p:nvPr/>
        </p:nvSpPr>
        <p:spPr>
          <a:xfrm>
            <a:off x="1393188" y="4333166"/>
            <a:ext cx="2272263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Deny Tanizaki (PR)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64F60FB2-DD88-005E-A318-D1888765B8B0}"/>
              </a:ext>
            </a:extLst>
          </p:cNvPr>
          <p:cNvSpPr/>
          <p:nvPr/>
        </p:nvSpPr>
        <p:spPr>
          <a:xfrm>
            <a:off x="6057418" y="5038056"/>
            <a:ext cx="1093428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  <a:highlight>
                  <a:srgbClr val="00FF00"/>
                </a:highlight>
              </a:rPr>
              <a:t>Marcelo Bastos (RJ) / Jeff (PR) / Nelson (RJ)</a:t>
            </a:r>
            <a:endParaRPr lang="en-US" sz="9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AE9F617A-4F5E-F068-55C9-990F0798A194}"/>
              </a:ext>
            </a:extLst>
          </p:cNvPr>
          <p:cNvSpPr/>
          <p:nvPr/>
        </p:nvSpPr>
        <p:spPr>
          <a:xfrm>
            <a:off x="7247600" y="5038056"/>
            <a:ext cx="1093428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  <a:highlight>
                  <a:srgbClr val="00FF00"/>
                </a:highlight>
              </a:rPr>
              <a:t>Jeferson (RJ)  &amp; </a:t>
            </a:r>
            <a:r>
              <a:rPr lang="pt-BR" sz="900" dirty="0" err="1">
                <a:solidFill>
                  <a:schemeClr val="tx1"/>
                </a:solidFill>
                <a:highlight>
                  <a:srgbClr val="00FF00"/>
                </a:highlight>
              </a:rPr>
              <a:t>Savacini</a:t>
            </a:r>
            <a:r>
              <a:rPr lang="pt-BR" sz="900" dirty="0">
                <a:solidFill>
                  <a:schemeClr val="tx1"/>
                </a:solidFill>
                <a:highlight>
                  <a:srgbClr val="00FF00"/>
                </a:highlight>
              </a:rPr>
              <a:t> (RJ)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326182A3-727B-C7BB-9046-BB3A8E720723}"/>
              </a:ext>
            </a:extLst>
          </p:cNvPr>
          <p:cNvSpPr/>
          <p:nvPr/>
        </p:nvSpPr>
        <p:spPr>
          <a:xfrm>
            <a:off x="3721720" y="5038056"/>
            <a:ext cx="223348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Fabio Lacerda (RJ) &amp; Denis Ricardo (RJ) &amp; </a:t>
            </a:r>
            <a:r>
              <a:rPr lang="pt-BR" sz="1000" dirty="0" err="1">
                <a:solidFill>
                  <a:schemeClr val="tx1"/>
                </a:solidFill>
                <a:highlight>
                  <a:srgbClr val="00FF00"/>
                </a:highlight>
              </a:rPr>
              <a:t>Luis</a:t>
            </a:r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 Augusto Alves Gonçalves (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5C37A9F2-AE5E-EEAF-0AE1-9B4225A69702}"/>
              </a:ext>
            </a:extLst>
          </p:cNvPr>
          <p:cNvSpPr/>
          <p:nvPr/>
        </p:nvSpPr>
        <p:spPr>
          <a:xfrm>
            <a:off x="8442025" y="5038056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Mario Celso (SP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D0B2D417-C6F6-8A0A-55DB-D3FC7F42D680}"/>
              </a:ext>
            </a:extLst>
          </p:cNvPr>
          <p:cNvSpPr/>
          <p:nvPr/>
        </p:nvSpPr>
        <p:spPr>
          <a:xfrm>
            <a:off x="1393188" y="5038056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err="1">
                <a:solidFill>
                  <a:schemeClr val="tx1"/>
                </a:solidFill>
                <a:highlight>
                  <a:srgbClr val="00FF00"/>
                </a:highlight>
              </a:rPr>
              <a:t>Luis</a:t>
            </a:r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 Rogério (Moranguinho) (PR) &amp; Jose Vitor (RJ)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C21614B8-FF18-9EEA-E55A-07DD5F0B83F5}"/>
              </a:ext>
            </a:extLst>
          </p:cNvPr>
          <p:cNvSpPr/>
          <p:nvPr/>
        </p:nvSpPr>
        <p:spPr>
          <a:xfrm>
            <a:off x="2583691" y="2655746"/>
            <a:ext cx="1081759" cy="917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“</a:t>
            </a:r>
            <a:r>
              <a:rPr lang="pt-BR" sz="1000" dirty="0" err="1">
                <a:solidFill>
                  <a:schemeClr val="tx1"/>
                </a:solidFill>
              </a:rPr>
              <a:t>FinOps</a:t>
            </a:r>
            <a:r>
              <a:rPr lang="pt-BR" sz="1000" dirty="0">
                <a:solidFill>
                  <a:schemeClr val="tx1"/>
                </a:solidFill>
              </a:rPr>
              <a:t>”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1CCCD29E-3C88-53F9-1AA7-382C79D009A5}"/>
              </a:ext>
            </a:extLst>
          </p:cNvPr>
          <p:cNvSpPr/>
          <p:nvPr/>
        </p:nvSpPr>
        <p:spPr>
          <a:xfrm>
            <a:off x="2583691" y="5038056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Marcio Leitão (RJ) (Turbo) &amp; André </a:t>
            </a:r>
            <a:r>
              <a:rPr lang="pt-BR" sz="1000" dirty="0" err="1">
                <a:solidFill>
                  <a:schemeClr val="tx1"/>
                </a:solidFill>
                <a:highlight>
                  <a:srgbClr val="00FF00"/>
                </a:highlight>
              </a:rPr>
              <a:t>Luis</a:t>
            </a:r>
            <a:r>
              <a:rPr lang="pt-BR" sz="1000">
                <a:solidFill>
                  <a:schemeClr val="tx1"/>
                </a:solidFill>
                <a:highlight>
                  <a:srgbClr val="00FF00"/>
                </a:highlight>
              </a:rPr>
              <a:t> (</a:t>
            </a:r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RJ)(</a:t>
            </a:r>
            <a:r>
              <a:rPr lang="pt-BR" sz="1000" dirty="0" err="1">
                <a:solidFill>
                  <a:schemeClr val="tx1"/>
                </a:solidFill>
                <a:highlight>
                  <a:srgbClr val="00FF00"/>
                </a:highlight>
              </a:rPr>
              <a:t>Cloudability</a:t>
            </a:r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)</a:t>
            </a:r>
          </a:p>
        </p:txBody>
      </p: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F72ADF4D-C8D2-0E23-356C-948ECB95A497}"/>
              </a:ext>
            </a:extLst>
          </p:cNvPr>
          <p:cNvCxnSpPr>
            <a:cxnSpLocks/>
            <a:stCxn id="75" idx="2"/>
            <a:endCxn id="61" idx="0"/>
          </p:cNvCxnSpPr>
          <p:nvPr/>
        </p:nvCxnSpPr>
        <p:spPr>
          <a:xfrm flipH="1">
            <a:off x="8982905" y="2201976"/>
            <a:ext cx="1169134" cy="45377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tangle 141">
            <a:extLst>
              <a:ext uri="{FF2B5EF4-FFF2-40B4-BE49-F238E27FC236}">
                <a16:creationId xmlns:a16="http://schemas.microsoft.com/office/drawing/2014/main" id="{C3527BD3-FDDA-B988-C95B-82035F3542C3}"/>
              </a:ext>
            </a:extLst>
          </p:cNvPr>
          <p:cNvSpPr/>
          <p:nvPr/>
        </p:nvSpPr>
        <p:spPr>
          <a:xfrm>
            <a:off x="4262601" y="1566871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Glória (SP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cxnSp>
        <p:nvCxnSpPr>
          <p:cNvPr id="143" name="Straight Arrow Connector 142">
            <a:extLst>
              <a:ext uri="{FF2B5EF4-FFF2-40B4-BE49-F238E27FC236}">
                <a16:creationId xmlns:a16="http://schemas.microsoft.com/office/drawing/2014/main" id="{D6D82E50-5685-E757-4CE6-EFCD7FE3BD09}"/>
              </a:ext>
            </a:extLst>
          </p:cNvPr>
          <p:cNvCxnSpPr>
            <a:cxnSpLocks/>
            <a:stCxn id="142" idx="2"/>
            <a:endCxn id="22" idx="0"/>
          </p:cNvCxnSpPr>
          <p:nvPr/>
        </p:nvCxnSpPr>
        <p:spPr>
          <a:xfrm>
            <a:off x="4803481" y="2201976"/>
            <a:ext cx="2990833" cy="45377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tangle 155">
            <a:extLst>
              <a:ext uri="{FF2B5EF4-FFF2-40B4-BE49-F238E27FC236}">
                <a16:creationId xmlns:a16="http://schemas.microsoft.com/office/drawing/2014/main" id="{5D2F969D-A546-A094-DB9A-FF23A4C62084}"/>
              </a:ext>
            </a:extLst>
          </p:cNvPr>
          <p:cNvSpPr/>
          <p:nvPr/>
        </p:nvSpPr>
        <p:spPr>
          <a:xfrm>
            <a:off x="9611160" y="2655746"/>
            <a:ext cx="1081759" cy="917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Arquitetura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EB20FE88-FA7A-A635-7873-8BDB21F57077}"/>
              </a:ext>
            </a:extLst>
          </p:cNvPr>
          <p:cNvSpPr/>
          <p:nvPr/>
        </p:nvSpPr>
        <p:spPr>
          <a:xfrm>
            <a:off x="9611160" y="5038056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Alexandre Gonçalves Vanderlei (RJ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3908018D-CBD9-0E26-A9D3-C169C2FEC982}"/>
              </a:ext>
            </a:extLst>
          </p:cNvPr>
          <p:cNvCxnSpPr>
            <a:cxnSpLocks/>
            <a:stCxn id="142" idx="2"/>
            <a:endCxn id="98" idx="0"/>
          </p:cNvCxnSpPr>
          <p:nvPr/>
        </p:nvCxnSpPr>
        <p:spPr>
          <a:xfrm flipH="1">
            <a:off x="1934068" y="2201976"/>
            <a:ext cx="2869413" cy="45377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BBC2D600-A729-FCDE-7DF6-DDEEF2E29D52}"/>
              </a:ext>
            </a:extLst>
          </p:cNvPr>
          <p:cNvCxnSpPr>
            <a:cxnSpLocks/>
            <a:stCxn id="75" idx="2"/>
            <a:endCxn id="156" idx="0"/>
          </p:cNvCxnSpPr>
          <p:nvPr/>
        </p:nvCxnSpPr>
        <p:spPr>
          <a:xfrm>
            <a:off x="10152039" y="2201976"/>
            <a:ext cx="1" cy="45377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Rectangle 172">
            <a:extLst>
              <a:ext uri="{FF2B5EF4-FFF2-40B4-BE49-F238E27FC236}">
                <a16:creationId xmlns:a16="http://schemas.microsoft.com/office/drawing/2014/main" id="{D0751C6D-1009-271C-91A6-A9B5502AA77F}"/>
              </a:ext>
            </a:extLst>
          </p:cNvPr>
          <p:cNvSpPr/>
          <p:nvPr/>
        </p:nvSpPr>
        <p:spPr>
          <a:xfrm>
            <a:off x="10758406" y="2655745"/>
            <a:ext cx="1081759" cy="917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err="1">
                <a:solidFill>
                  <a:schemeClr val="tx1"/>
                </a:solidFill>
              </a:rPr>
              <a:t>Atualizaçào</a:t>
            </a:r>
            <a:r>
              <a:rPr lang="pt-BR" sz="1000" dirty="0">
                <a:solidFill>
                  <a:schemeClr val="tx1"/>
                </a:solidFill>
              </a:rPr>
              <a:t> Tecnológica</a:t>
            </a:r>
          </a:p>
        </p:txBody>
      </p:sp>
      <p:cxnSp>
        <p:nvCxnSpPr>
          <p:cNvPr id="175" name="Straight Arrow Connector 174">
            <a:extLst>
              <a:ext uri="{FF2B5EF4-FFF2-40B4-BE49-F238E27FC236}">
                <a16:creationId xmlns:a16="http://schemas.microsoft.com/office/drawing/2014/main" id="{15CB7E86-AF4E-C64F-CDB5-02EA605C13DE}"/>
              </a:ext>
            </a:extLst>
          </p:cNvPr>
          <p:cNvCxnSpPr>
            <a:cxnSpLocks/>
            <a:stCxn id="75" idx="2"/>
            <a:endCxn id="173" idx="0"/>
          </p:cNvCxnSpPr>
          <p:nvPr/>
        </p:nvCxnSpPr>
        <p:spPr>
          <a:xfrm>
            <a:off x="10152039" y="2201976"/>
            <a:ext cx="1147247" cy="453769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Rectangle 188">
            <a:extLst>
              <a:ext uri="{FF2B5EF4-FFF2-40B4-BE49-F238E27FC236}">
                <a16:creationId xmlns:a16="http://schemas.microsoft.com/office/drawing/2014/main" id="{263A707A-22CF-742E-241C-6C68915340A0}"/>
              </a:ext>
            </a:extLst>
          </p:cNvPr>
          <p:cNvSpPr/>
          <p:nvPr/>
        </p:nvSpPr>
        <p:spPr>
          <a:xfrm>
            <a:off x="9611160" y="4333166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Ronald (RJ), Vitor  Braga (RJ), Savio (SP), </a:t>
            </a:r>
            <a:r>
              <a:rPr lang="pt-BR" sz="1000" dirty="0" err="1">
                <a:solidFill>
                  <a:schemeClr val="tx1"/>
                </a:solidFill>
                <a:highlight>
                  <a:srgbClr val="00FF00"/>
                </a:highlight>
              </a:rPr>
              <a:t>Erimar</a:t>
            </a:r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 (PR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22DD5DFD-F8AB-BFDF-A21D-49A6D97CA00A}"/>
              </a:ext>
            </a:extLst>
          </p:cNvPr>
          <p:cNvSpPr/>
          <p:nvPr/>
        </p:nvSpPr>
        <p:spPr>
          <a:xfrm>
            <a:off x="10758406" y="4333166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Elder (SP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06EA4D10-515A-0EF0-381E-D8C215D311F4}"/>
              </a:ext>
            </a:extLst>
          </p:cNvPr>
          <p:cNvSpPr/>
          <p:nvPr/>
        </p:nvSpPr>
        <p:spPr>
          <a:xfrm>
            <a:off x="10758406" y="5038056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Ricardo Manzotti (SP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37BAB4BD-B02A-E23D-5885-1365248AF1D5}"/>
              </a:ext>
            </a:extLst>
          </p:cNvPr>
          <p:cNvSpPr/>
          <p:nvPr/>
        </p:nvSpPr>
        <p:spPr>
          <a:xfrm>
            <a:off x="208878" y="2655746"/>
            <a:ext cx="1081759" cy="917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err="1">
                <a:solidFill>
                  <a:schemeClr val="tx1"/>
                </a:solidFill>
              </a:rPr>
              <a:t>FinOps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20F93375-7DBB-6DF4-A87D-D8846F7C9C40}"/>
              </a:ext>
            </a:extLst>
          </p:cNvPr>
          <p:cNvSpPr/>
          <p:nvPr/>
        </p:nvSpPr>
        <p:spPr>
          <a:xfrm>
            <a:off x="208878" y="5038056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Lucas Alvim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7E178418-32D8-651D-09DD-C763A4CAC6A7}"/>
              </a:ext>
            </a:extLst>
          </p:cNvPr>
          <p:cNvSpPr/>
          <p:nvPr/>
        </p:nvSpPr>
        <p:spPr>
          <a:xfrm>
            <a:off x="208878" y="4343162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Rodrigo Wild</a:t>
            </a: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4F182442-E5C2-8E95-F2BF-A7D98078207A}"/>
              </a:ext>
            </a:extLst>
          </p:cNvPr>
          <p:cNvSpPr/>
          <p:nvPr/>
        </p:nvSpPr>
        <p:spPr>
          <a:xfrm>
            <a:off x="208878" y="3622275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Gilson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D4ABB351-9138-F20D-6749-515CB7CBF7A6}"/>
              </a:ext>
            </a:extLst>
          </p:cNvPr>
          <p:cNvCxnSpPr>
            <a:cxnSpLocks/>
            <a:stCxn id="142" idx="2"/>
            <a:endCxn id="122" idx="0"/>
          </p:cNvCxnSpPr>
          <p:nvPr/>
        </p:nvCxnSpPr>
        <p:spPr>
          <a:xfrm flipH="1">
            <a:off x="3124571" y="2201976"/>
            <a:ext cx="1678910" cy="45377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2D73B495-1CBB-98B4-2986-938721B60E6F}"/>
              </a:ext>
            </a:extLst>
          </p:cNvPr>
          <p:cNvSpPr/>
          <p:nvPr/>
        </p:nvSpPr>
        <p:spPr>
          <a:xfrm>
            <a:off x="7254562" y="3618133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Vito (RJ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896B024-B160-DFAE-6EFA-58A555FF721B}"/>
              </a:ext>
            </a:extLst>
          </p:cNvPr>
          <p:cNvSpPr/>
          <p:nvPr/>
        </p:nvSpPr>
        <p:spPr>
          <a:xfrm>
            <a:off x="9611160" y="3616025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Fábio Alcantara (RJ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16D3482-6B83-25F2-6AD9-1EF097D90120}"/>
              </a:ext>
            </a:extLst>
          </p:cNvPr>
          <p:cNvSpPr/>
          <p:nvPr/>
        </p:nvSpPr>
        <p:spPr>
          <a:xfrm>
            <a:off x="10758406" y="3616025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Regiane Hoffman (SP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C626609-B35A-89FA-766A-BD9E6E80E551}"/>
              </a:ext>
            </a:extLst>
          </p:cNvPr>
          <p:cNvSpPr/>
          <p:nvPr/>
        </p:nvSpPr>
        <p:spPr>
          <a:xfrm>
            <a:off x="8442025" y="3616025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Lourival (PR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5771827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92DF95D-8C96-1C93-49DB-3641C22953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B53EEDC4-E815-C1A6-010D-E95EA64C78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EB6D0C7-AE8F-98EA-C19A-314F2F43AC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8CF78D4-F2A3-FEE7-6066-C67833EA47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BCC047C-58D5-CD46-DDED-D5F1366A23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D9DCB2F-8B0C-5AB7-46CD-277F1A692B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63A3580-C56A-F59A-1A28-1083418D10AF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B5A5295-13B5-5F76-58A7-1B7A8FE275C0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3A8336F-B5C5-C4F9-A78C-F0354BBC511A}"/>
              </a:ext>
            </a:extLst>
          </p:cNvPr>
          <p:cNvSpPr/>
          <p:nvPr/>
        </p:nvSpPr>
        <p:spPr>
          <a:xfrm>
            <a:off x="30649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AF2B280-9195-8646-2D76-AE846F459FBA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WAS &amp; </a:t>
            </a:r>
            <a:r>
              <a:rPr lang="pt-BR" sz="1400" b="1" dirty="0" err="1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iberty</a:t>
            </a:r>
            <a:r>
              <a:rPr lang="pt-BR" sz="1400" b="1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&amp; WAS Automation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ória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é Guilherme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io Puppo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bio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certa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Deni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6/06/2025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C3DBE9C-9D51-8719-EC3F-C95A74DADCD0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7ADB682-8B5C-A757-1E58-6CE5B06CBAB1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D5CE9A44-16C4-B179-F706-0AA68149E373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5DA6645-7A31-F1A2-871A-866C84F9110A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EFDA5D6-5719-BA13-7538-7E7B4700EA55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gestores 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1EB4022-083F-2999-1AD9-F69A14869E23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FA4506B7-E442-869C-F873-E644E24A954D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01F896A0-07C9-71D3-38BD-CA317E3AB3CB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8" name="Straight Arrow Connector 4">
                <a:extLst>
                  <a:ext uri="{FF2B5EF4-FFF2-40B4-BE49-F238E27FC236}">
                    <a16:creationId xmlns:a16="http://schemas.microsoft.com/office/drawing/2014/main" id="{3CBF09F9-E761-ED6E-3190-681F38E9005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Oval 6">
                <a:extLst>
                  <a:ext uri="{FF2B5EF4-FFF2-40B4-BE49-F238E27FC236}">
                    <a16:creationId xmlns:a16="http://schemas.microsoft.com/office/drawing/2014/main" id="{10C26890-272E-0E83-4F48-5D54E463162E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5" name="Oval 6">
                <a:extLst>
                  <a:ext uri="{FF2B5EF4-FFF2-40B4-BE49-F238E27FC236}">
                    <a16:creationId xmlns:a16="http://schemas.microsoft.com/office/drawing/2014/main" id="{AC90CBA3-ECA8-065E-8E9D-0B51EDCFB98A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F80FBCB6-6A5B-4A23-B803-4DACD38E1FF2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58" name="Rectangle 57">
                  <a:extLst>
                    <a:ext uri="{FF2B5EF4-FFF2-40B4-BE49-F238E27FC236}">
                      <a16:creationId xmlns:a16="http://schemas.microsoft.com/office/drawing/2014/main" id="{657542BE-29E8-5E1C-8BD7-8DD72AB47FC1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DD2F3827-7E00-E7C0-FB0B-000AC205D2F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B5784029-B01D-3A39-2C65-ADD26AD0928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7" name="Oval 6">
                <a:extLst>
                  <a:ext uri="{FF2B5EF4-FFF2-40B4-BE49-F238E27FC236}">
                    <a16:creationId xmlns:a16="http://schemas.microsoft.com/office/drawing/2014/main" id="{7EDC71F5-7790-1D58-E77E-E7364907B681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020D24D6-36D5-015C-DCA8-D14F27BD5E71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6BC2C75-A24B-9946-0399-E8D99FC6641F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FFE2CD0-57D2-F05C-97F5-B5494210627B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7F7E0266-8141-443B-858A-BE5FFB2939DB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8DE6D95A-65CC-2027-54F7-1B89AFE6ABF0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AS Automation – Upgrade OCP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E50D678-088E-471C-B114-0E1FF1F26E27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AS Automation – Upgrade OCP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 WAS Automation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echado novos times de atendiment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r OKR e definir plano de aç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D0A2372A-D3D8-FA6B-BF97-8607E6023AF9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BF18AFC5-65C6-F25C-661C-7CE460ADCB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CD2EEF20-0646-D0D4-67EB-BA011E609697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FF2A720A-DC55-9602-C633-23ABEB2ADF1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730BE98A-C657-D952-2A20-BB6E8A92E53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008286EE-C736-6913-19A2-2B5AC63B8B1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0BD04C17-701E-6BF9-47D7-6011AE6FC25A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38D99D30-1FC8-6CC0-E0FD-75DB76057011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02EB30B6-8BE3-7D1E-5E76-FE5782CB473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61" name="Title 1">
            <a:extLst>
              <a:ext uri="{FF2B5EF4-FFF2-40B4-BE49-F238E27FC236}">
                <a16:creationId xmlns:a16="http://schemas.microsoft.com/office/drawing/2014/main" id="{D63CF7E5-50D0-1E58-0C27-B388754D2100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8127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9A8FE51-CA78-501D-33B8-BA642E92DA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0F71B1A8-898D-DD1D-B828-B61EDE384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7EF8D8D-DE2F-C4C8-8D57-AE541EF55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0418D03-99BB-7F8C-09F9-A09D364BF8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BA068AF-2124-3763-09C5-E3DDC3A90E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C7FA4BA-46DE-5446-912F-4EBD459420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54FF6FA-AAAE-7504-B4B5-BC896D04549F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BF445AC-7222-C632-7FCF-4F35C89A2B83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291F266-AFCF-3D7F-3E00-CB5B80144D99}"/>
              </a:ext>
            </a:extLst>
          </p:cNvPr>
          <p:cNvSpPr/>
          <p:nvPr/>
        </p:nvSpPr>
        <p:spPr>
          <a:xfrm>
            <a:off x="30649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ED771C5-33D7-5DFC-066C-05C77474123C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WAS &amp; </a:t>
            </a:r>
            <a:r>
              <a:rPr lang="pt-BR" sz="1400" b="1" dirty="0" err="1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iberty</a:t>
            </a:r>
            <a:r>
              <a:rPr lang="pt-BR" sz="1400" b="1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&amp; WAS Automation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ória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é Guilherme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io Puppo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bio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certa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Deni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6/06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4/07/2025</a:t>
            </a:r>
          </a:p>
          <a:p>
            <a:pPr marL="0" lvl="2" algn="ctr"/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3D0D04C-4459-98B6-CC69-A5DE809ED8AB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AFFE293-9289-B3DD-FA61-D8A69579E915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E6F23EA-D652-1692-1017-0F5E7E1EDA76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7FA6E94-A11D-E16A-0349-A8AF78850EAC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8CE7E6A-BE1C-7860-1389-3016B15B1CED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 WAS Automation (ajuste no proxy)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87101AD-9C77-B3E6-78B3-38D4080C5ABE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DDE5FA7-373B-8CA5-793D-F921F55C31D2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3BC0438C-E2A9-97B2-E4D2-04EB67BF5256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8" name="Straight Arrow Connector 4">
                <a:extLst>
                  <a:ext uri="{FF2B5EF4-FFF2-40B4-BE49-F238E27FC236}">
                    <a16:creationId xmlns:a16="http://schemas.microsoft.com/office/drawing/2014/main" id="{A02EC0FC-0582-713D-63AB-676445C0A50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Oval 6">
                <a:extLst>
                  <a:ext uri="{FF2B5EF4-FFF2-40B4-BE49-F238E27FC236}">
                    <a16:creationId xmlns:a16="http://schemas.microsoft.com/office/drawing/2014/main" id="{7DD4280A-7C62-E5AA-F164-5B2AEBFBAD4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5" name="Oval 6">
                <a:extLst>
                  <a:ext uri="{FF2B5EF4-FFF2-40B4-BE49-F238E27FC236}">
                    <a16:creationId xmlns:a16="http://schemas.microsoft.com/office/drawing/2014/main" id="{6CF3A604-79D7-98E3-2C44-C3A3D8C20C50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A013AF4B-0338-07FB-A979-56980827DA45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58" name="Rectangle 57">
                  <a:extLst>
                    <a:ext uri="{FF2B5EF4-FFF2-40B4-BE49-F238E27FC236}">
                      <a16:creationId xmlns:a16="http://schemas.microsoft.com/office/drawing/2014/main" id="{19BDCEE3-27C2-1B79-209E-5A86D66636C3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9BFC92F0-A767-52EC-7C3E-A36CA9E9C6C5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F47EAA47-9D55-E5E1-9012-3097E665D3C0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7" name="Oval 6">
                <a:extLst>
                  <a:ext uri="{FF2B5EF4-FFF2-40B4-BE49-F238E27FC236}">
                    <a16:creationId xmlns:a16="http://schemas.microsoft.com/office/drawing/2014/main" id="{EACF3D6D-D55A-23D2-BAB3-5F388A25B56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1BCE9F3-A72C-7395-D9D6-6A47E8B862AC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33F2985-9694-9C48-1C55-E5E85A1D82A2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55F4BA83-E17E-424B-4570-4AE08FCAE923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683E50E-DCEE-892B-4044-47D2836ECAC0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8B73FEA9-92F1-B43D-70E7-D69A0B9253A0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B05A42FB-ACCF-FF02-1C6A-9A5D06AA4E38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AD97855A-3345-86A4-97B3-9443E53DF0E1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05FDC7BB-52BD-6FFE-92CE-65CB3F9FF38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DB54C160-7948-7E4B-762B-3EFC58949163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3042B6B3-D0CB-176E-CB28-2579920E27F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AF51273A-3979-CA24-4E64-B025769819A9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F2E73067-8CFF-6038-CDA2-FE6C30BA6E5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3F95A05A-C82A-00B6-55BB-BB0FFA9E3351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1099CBC0-E1E8-7F8B-B2A0-990305534D7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>
                      <a:solidFill>
                        <a:srgbClr val="1D3649"/>
                      </a:solidFill>
                    </a:rPr>
                    <a:t>Dez/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0AF2D72A-6E76-692F-808B-D5076DD2E5B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61" name="Title 1">
            <a:extLst>
              <a:ext uri="{FF2B5EF4-FFF2-40B4-BE49-F238E27FC236}">
                <a16:creationId xmlns:a16="http://schemas.microsoft.com/office/drawing/2014/main" id="{19A2869B-4C47-04FF-102C-6CD03448EBF1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76424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_RG9HW4kSjWx.Jfb2HXw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 - Blue Line Theme">
  <a:themeElements>
    <a:clrScheme name="Custom 2">
      <a:dk1>
        <a:srgbClr val="000000"/>
      </a:dk1>
      <a:lt1>
        <a:srgbClr val="FFFFFF"/>
      </a:lt1>
      <a:dk2>
        <a:srgbClr val="4155D5"/>
      </a:dk2>
      <a:lt2>
        <a:srgbClr val="EAE5EB"/>
      </a:lt2>
      <a:accent1>
        <a:srgbClr val="1C2C41"/>
      </a:accent1>
      <a:accent2>
        <a:srgbClr val="0055D9"/>
      </a:accent2>
      <a:accent3>
        <a:srgbClr val="096BFE"/>
      </a:accent3>
      <a:accent4>
        <a:srgbClr val="D0E2FF"/>
      </a:accent4>
      <a:accent5>
        <a:srgbClr val="BD95FF"/>
      </a:accent5>
      <a:accent6>
        <a:srgbClr val="A641FF"/>
      </a:accent6>
      <a:hlink>
        <a:srgbClr val="0066FF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17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SC Program Template" id="{D699AB58-0D9D-DD4F-AAB2-39CCF323C3BC}" vid="{B8D6E6D3-3172-C940-B17E-23233D8D37B5}"/>
    </a:ext>
  </a:extLst>
</a:theme>
</file>

<file path=ppt/theme/theme3.xml><?xml version="1.0" encoding="utf-8"?>
<a:theme xmlns:a="http://schemas.openxmlformats.org/drawingml/2006/main" name="IBM 2019 Master template (light gray background)">
  <a:themeElements>
    <a:clrScheme name="Custom 5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IBM Plex Sans" panose="020B0503050203000203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Plex_Embed_LargeFormat" id="{9A8984FD-B3DF-A840-840F-71DD6FB2CD77}" vid="{2F72A950-76FC-244D-942E-1CB1729F9961}"/>
    </a:ext>
  </a:extLst>
</a:theme>
</file>

<file path=ppt/theme/theme4.xml><?xml version="1.0" encoding="utf-8"?>
<a:theme xmlns:a="http://schemas.openxmlformats.org/drawingml/2006/main" name="8_blk_background_2017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4C020BF7-4FCB-1F42-8019-A2CCA1C10BB5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837</TotalTime>
  <Words>2131</Words>
  <Application>Microsoft Office PowerPoint</Application>
  <PresentationFormat>Widescreen</PresentationFormat>
  <Paragraphs>689</Paragraphs>
  <Slides>29</Slides>
  <Notes>4</Notes>
  <HiddenSlides>5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51" baseType="lpstr">
      <vt:lpstr>.AppleSystemUIFont</vt:lpstr>
      <vt:lpstr>Aptos</vt:lpstr>
      <vt:lpstr>Aptos Narrow</vt:lpstr>
      <vt:lpstr>Arial</vt:lpstr>
      <vt:lpstr>Calibri</vt:lpstr>
      <vt:lpstr>Calibri Light</vt:lpstr>
      <vt:lpstr>Helvetica Neue</vt:lpstr>
      <vt:lpstr>HelvNeue Light for IBM</vt:lpstr>
      <vt:lpstr>IBM Plex Sans</vt:lpstr>
      <vt:lpstr>IBM Plex Sans Light</vt:lpstr>
      <vt:lpstr>IBM Plex Sans Medium</vt:lpstr>
      <vt:lpstr>IBM Plex Sans Regular</vt:lpstr>
      <vt:lpstr>inherit</vt:lpstr>
      <vt:lpstr>Lora</vt:lpstr>
      <vt:lpstr>Quattrocento Sans</vt:lpstr>
      <vt:lpstr>Times New Roman</vt:lpstr>
      <vt:lpstr>Wingdings</vt:lpstr>
      <vt:lpstr>Tema do Office</vt:lpstr>
      <vt:lpstr>2 - Blue Line Theme</vt:lpstr>
      <vt:lpstr>IBM 2019 Master template (light gray background)</vt:lpstr>
      <vt:lpstr>8_blk_background_2017</vt:lpstr>
      <vt:lpstr>think-cell Slide</vt:lpstr>
      <vt:lpstr>PowerPoint Presentation</vt:lpstr>
      <vt:lpstr>PowerPoint Presentation</vt:lpstr>
      <vt:lpstr>A missão do Customer Success Manager…</vt:lpstr>
      <vt:lpstr>O que é o Customer Success na IBM? </vt:lpstr>
      <vt:lpstr>Exemplos de atividades do CSM            CSM example activities </vt:lpstr>
      <vt:lpstr>Atividades CP4I         Activities CP4I</vt:lpstr>
      <vt:lpstr>BSEG/Times         BSEG/Tim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ferências Externas (Ex: Gartner)            External references 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PowerPoint Presentation</vt:lpstr>
      <vt:lpstr>Exemplos de uso de licenças nos Cloud Paks            CSM license usag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BM CP4I  Grupo Casas Bahia S. A.</dc:title>
  <dc:creator>Rodrigo Spósito</dc:creator>
  <cp:lastModifiedBy>Alexandre Zanetti de Almeida</cp:lastModifiedBy>
  <cp:revision>403</cp:revision>
  <dcterms:created xsi:type="dcterms:W3CDTF">2023-12-08T17:08:25Z</dcterms:created>
  <dcterms:modified xsi:type="dcterms:W3CDTF">2025-07-04T13:04:17Z</dcterms:modified>
</cp:coreProperties>
</file>